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2" r:id="rId3"/>
    <p:sldMasterId id="2147483697" r:id="rId4"/>
    <p:sldMasterId id="2147483710" r:id="rId5"/>
    <p:sldMasterId id="2147483734" r:id="rId6"/>
    <p:sldMasterId id="2147483747" r:id="rId7"/>
    <p:sldMasterId id="2147483761" r:id="rId8"/>
    <p:sldMasterId id="2147483771" r:id="rId9"/>
    <p:sldMasterId id="2147483780" r:id="rId10"/>
    <p:sldMasterId id="2147483796" r:id="rId11"/>
  </p:sldMasterIdLst>
  <p:notesMasterIdLst>
    <p:notesMasterId r:id="rId26"/>
  </p:notesMasterIdLst>
  <p:handoutMasterIdLst>
    <p:handoutMasterId r:id="rId27"/>
  </p:handoutMasterIdLst>
  <p:sldIdLst>
    <p:sldId id="297" r:id="rId12"/>
    <p:sldId id="264" r:id="rId13"/>
    <p:sldId id="296" r:id="rId14"/>
    <p:sldId id="307" r:id="rId15"/>
    <p:sldId id="306" r:id="rId16"/>
    <p:sldId id="292" r:id="rId17"/>
    <p:sldId id="260" r:id="rId18"/>
    <p:sldId id="299" r:id="rId19"/>
    <p:sldId id="308" r:id="rId20"/>
    <p:sldId id="300" r:id="rId21"/>
    <p:sldId id="303" r:id="rId22"/>
    <p:sldId id="304" r:id="rId23"/>
    <p:sldId id="263" r:id="rId24"/>
    <p:sldId id="302" r:id="rId25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77" autoAdjust="0"/>
    <p:restoredTop sz="94660"/>
  </p:normalViewPr>
  <p:slideViewPr>
    <p:cSldViewPr snapToGrid="0">
      <p:cViewPr varScale="1">
        <p:scale>
          <a:sx n="74" d="100"/>
          <a:sy n="74" d="100"/>
        </p:scale>
        <p:origin x="76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10998" cy="4630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7459" y="2"/>
            <a:ext cx="3010996" cy="4630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AD5470-3A71-4BED-B829-96D4D029D983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3020"/>
            <a:ext cx="3010998" cy="4630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7459" y="8773020"/>
            <a:ext cx="3010996" cy="4630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710E28-2195-444E-9E05-67FD575712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3059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9" y="1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96465E-A682-4147-8823-D8FADC58B39E}" type="datetimeFigureOut">
              <a:rPr lang="en-GB" smtClean="0"/>
              <a:t>16/08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2"/>
            <a:ext cx="5560060" cy="363670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8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9" y="8772668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658327-C30B-44AA-B186-1E2566DD54E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723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48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7361" indent="-283600" defTabSz="9248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4400" indent="-226880" defTabSz="9248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8159" indent="-226880" defTabSz="9248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41920" indent="-226880" defTabSz="9248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95680" indent="-226880" defTabSz="924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49438" indent="-226880" defTabSz="924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03200" indent="-226880" defTabSz="924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56959" indent="-226880" defTabSz="924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248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9D8C2-CE37-4D00-B326-D5792CDFB3D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248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647700"/>
            <a:ext cx="5781675" cy="3252788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1741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77DD3-C369-4606-A65F-69EEB1B77003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804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77DD3-C369-4606-A65F-69EEB1B7700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3117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4" name="Shape 4214"/>
          <p:cNvSpPr>
            <a:spLocks noGrp="1" noRot="1" noChangeAspect="1"/>
          </p:cNvSpPr>
          <p:nvPr>
            <p:ph type="sldImg" idx="2"/>
          </p:nvPr>
        </p:nvSpPr>
        <p:spPr>
          <a:xfrm>
            <a:off x="1282700" y="1019175"/>
            <a:ext cx="4892675" cy="27527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215" name="Shape 4215"/>
          <p:cNvSpPr txBox="1">
            <a:spLocks noGrp="1"/>
          </p:cNvSpPr>
          <p:nvPr>
            <p:ph type="body" idx="1"/>
          </p:nvPr>
        </p:nvSpPr>
        <p:spPr>
          <a:xfrm>
            <a:off x="745974" y="3925066"/>
            <a:ext cx="5967649" cy="3211540"/>
          </a:xfrm>
          <a:prstGeom prst="rect">
            <a:avLst/>
          </a:prstGeom>
          <a:noFill/>
          <a:ln>
            <a:noFill/>
          </a:ln>
        </p:spPr>
        <p:txBody>
          <a:bodyPr lIns="94945" tIns="47460" rIns="94945" bIns="47460" anchor="t" anchorCtr="0">
            <a:noAutofit/>
          </a:bodyPr>
          <a:lstStyle/>
          <a:p>
            <a:pPr>
              <a:buSzPct val="25000"/>
            </a:pPr>
            <a:endParaRPr lang="en-US" dirty="0"/>
          </a:p>
        </p:txBody>
      </p:sp>
      <p:sp>
        <p:nvSpPr>
          <p:cNvPr id="4216" name="Shape 4216"/>
          <p:cNvSpPr txBox="1">
            <a:spLocks noGrp="1"/>
          </p:cNvSpPr>
          <p:nvPr>
            <p:ph type="sldNum" idx="12"/>
          </p:nvPr>
        </p:nvSpPr>
        <p:spPr>
          <a:xfrm>
            <a:off x="4225451" y="7746765"/>
            <a:ext cx="3232503" cy="409273"/>
          </a:xfrm>
          <a:prstGeom prst="rect">
            <a:avLst/>
          </a:prstGeom>
          <a:noFill/>
          <a:ln>
            <a:noFill/>
          </a:ln>
        </p:spPr>
        <p:txBody>
          <a:bodyPr lIns="94945" tIns="47460" rIns="94945" bIns="4746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770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125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9105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The GMRLN started in 2000, and is now the largest globally-coordinated laboratory network supporting surveillance in 191 countries</a:t>
            </a:r>
          </a:p>
          <a:p>
            <a:pPr marL="129105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723 GMRLN labs in 165 countries include: </a:t>
            </a:r>
          </a:p>
          <a:p>
            <a:pPr marL="473381" lvl="1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506 subnational </a:t>
            </a:r>
          </a:p>
          <a:p>
            <a:pPr marL="473381" lvl="1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180 national</a:t>
            </a:r>
          </a:p>
          <a:p>
            <a:pPr marL="473381" lvl="1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14 regional reference</a:t>
            </a:r>
          </a:p>
          <a:p>
            <a:pPr marL="473381" lvl="1" indent="-129105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3 global specialized laboratori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7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77DD3-C369-4606-A65F-69EEB1B77003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07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3220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>
                <a:latin typeface="Arial" charset="0"/>
                <a:cs typeface="Arial" charset="0"/>
              </a:rPr>
              <a:t>Not as vertical as previously accuse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ld Health Organization</a:t>
            </a:r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CD7CD5-53D1-406A-AA24-C40F37547A0D}" type="datetime3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August, 2017</a:t>
            </a:fld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39257C-FC9B-4FA5-9D65-A01A9131C10A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449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 dirty="0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734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3000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5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73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dt" idx="10"/>
          </p:nvPr>
        </p:nvSpPr>
        <p:spPr>
          <a:xfrm>
            <a:off x="609606" y="6356351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189" marR="0" indent="0" algn="l" rtl="0">
              <a:spcBef>
                <a:spcPts val="0"/>
              </a:spcBef>
              <a:defRPr/>
            </a:lvl2pPr>
            <a:lvl3pPr marL="914377" marR="0" indent="0" algn="l" rtl="0">
              <a:spcBef>
                <a:spcPts val="0"/>
              </a:spcBef>
              <a:defRPr/>
            </a:lvl3pPr>
            <a:lvl4pPr marL="1371566" marR="0" indent="0" algn="l" rtl="0">
              <a:spcBef>
                <a:spcPts val="0"/>
              </a:spcBef>
              <a:defRPr/>
            </a:lvl4pPr>
            <a:lvl5pPr marL="1828754" marR="0" indent="0" algn="l" rtl="0">
              <a:spcBef>
                <a:spcPts val="0"/>
              </a:spcBef>
              <a:defRPr/>
            </a:lvl5pPr>
            <a:lvl6pPr marL="2285943" marR="0" indent="0" algn="l" rtl="0">
              <a:spcBef>
                <a:spcPts val="0"/>
              </a:spcBef>
              <a:defRPr/>
            </a:lvl6pPr>
            <a:lvl7pPr marL="2743131" marR="0" indent="0" algn="l" rtl="0">
              <a:spcBef>
                <a:spcPts val="0"/>
              </a:spcBef>
              <a:defRPr/>
            </a:lvl7pPr>
            <a:lvl8pPr marL="3200320" marR="0" indent="0" algn="l" rtl="0">
              <a:spcBef>
                <a:spcPts val="0"/>
              </a:spcBef>
              <a:defRPr/>
            </a:lvl8pPr>
            <a:lvl9pPr marL="3657509" marR="0" indent="0" algn="l" rtl="0">
              <a:spcBef>
                <a:spcPts val="0"/>
              </a:spcBef>
              <a:defRPr/>
            </a:lvl9pPr>
          </a:lstStyle>
          <a:p>
            <a:endParaRPr lang="en-US" sz="18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spcBef>
                <a:spcPts val="0"/>
              </a:spcBef>
              <a:defRPr/>
            </a:lvl1pPr>
            <a:lvl2pPr marL="457189" marR="0" indent="0" algn="l" rtl="0">
              <a:spcBef>
                <a:spcPts val="0"/>
              </a:spcBef>
              <a:defRPr/>
            </a:lvl2pPr>
            <a:lvl3pPr marL="914377" marR="0" indent="0" algn="l" rtl="0">
              <a:spcBef>
                <a:spcPts val="0"/>
              </a:spcBef>
              <a:defRPr/>
            </a:lvl3pPr>
            <a:lvl4pPr marL="1371566" marR="0" indent="0" algn="l" rtl="0">
              <a:spcBef>
                <a:spcPts val="0"/>
              </a:spcBef>
              <a:defRPr/>
            </a:lvl4pPr>
            <a:lvl5pPr marL="1828754" marR="0" indent="0" algn="l" rtl="0">
              <a:spcBef>
                <a:spcPts val="0"/>
              </a:spcBef>
              <a:defRPr/>
            </a:lvl5pPr>
            <a:lvl6pPr marL="2285943" marR="0" indent="0" algn="l" rtl="0">
              <a:spcBef>
                <a:spcPts val="0"/>
              </a:spcBef>
              <a:defRPr/>
            </a:lvl6pPr>
            <a:lvl7pPr marL="2743131" marR="0" indent="0" algn="l" rtl="0">
              <a:spcBef>
                <a:spcPts val="0"/>
              </a:spcBef>
              <a:defRPr/>
            </a:lvl7pPr>
            <a:lvl8pPr marL="3200320" marR="0" indent="0" algn="l" rtl="0">
              <a:spcBef>
                <a:spcPts val="0"/>
              </a:spcBef>
              <a:defRPr/>
            </a:lvl8pPr>
            <a:lvl9pPr marL="3657509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sldNum" idx="12"/>
          </p:nvPr>
        </p:nvSpPr>
        <p:spPr>
          <a:xfrm>
            <a:off x="8737606" y="6356351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1200" b="0" i="0" u="none" strike="noStrike" cap="none" baseline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3026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Header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751670" y="482567"/>
            <a:ext cx="10623549" cy="5129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11193952" y="6461491"/>
            <a:ext cx="588432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1000" b="0" i="0" u="none" strike="noStrike" cap="none" baseline="0">
                <a:solidFill>
                  <a:srgbClr val="59452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750360" y="1531735"/>
            <a:ext cx="10602381" cy="437839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34926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9" y="1718735"/>
            <a:ext cx="11106151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5" indent="-128585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8" indent="-128585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45" indent="-1297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9" y="646258"/>
            <a:ext cx="11106151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4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10"/>
          </p:nvPr>
        </p:nvSpPr>
        <p:spPr>
          <a:xfrm>
            <a:off x="838200" y="6362702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A5230-8F9B-4B3A-A5A7-20FB5919AA47}" type="datetime1">
              <a:rPr lang="fr-FR">
                <a:solidFill>
                  <a:prstClr val="black"/>
                </a:solidFill>
                <a:cs typeface="Arial"/>
                <a:sym typeface="Arial"/>
                <a:rtl val="0"/>
              </a:rPr>
              <a:pPr>
                <a:defRPr/>
              </a:pPr>
              <a:t>16/08/2017</a:t>
            </a:fld>
            <a:endParaRPr lang="fr-FR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BC36F-18B7-4AC4-A973-34DBBC7EDDB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2314535"/>
      </p:ext>
    </p:extLst>
  </p:cSld>
  <p:clrMapOvr>
    <a:masterClrMapping/>
  </p:clrMapOvr>
  <p:transition spd="slow"/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7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68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37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06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7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44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129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81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50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7" y="6356351"/>
            <a:ext cx="2844799" cy="365124"/>
          </a:xfrm>
          <a:prstGeom prst="rect">
            <a:avLst/>
          </a:prstGeom>
        </p:spPr>
        <p:txBody>
          <a:bodyPr/>
          <a:lstStyle/>
          <a:p>
            <a:fld id="{7BD11BE1-9DD2-4957-BBE5-006E6E00C7B6}" type="datetimeFigureOut">
              <a:rPr lang="en-US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840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9328"/>
            <a:ext cx="6728883" cy="5535456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7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3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Header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751671" y="482567"/>
            <a:ext cx="10623549" cy="5129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11193952" y="6461491"/>
            <a:ext cx="588432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750" b="0" i="0" u="none" strike="noStrike" cap="none" baseline="0">
                <a:solidFill>
                  <a:srgbClr val="59452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750360" y="1531735"/>
            <a:ext cx="10602381" cy="437839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0273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80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1273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09" y="4407379"/>
            <a:ext cx="10363924" cy="1362097"/>
          </a:xfrm>
        </p:spPr>
        <p:txBody>
          <a:bodyPr anchor="t"/>
          <a:lstStyle>
            <a:lvl1pPr algn="l">
              <a:defRPr sz="342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09" y="2907056"/>
            <a:ext cx="10363924" cy="1500322"/>
          </a:xfrm>
        </p:spPr>
        <p:txBody>
          <a:bodyPr anchor="b"/>
          <a:lstStyle>
            <a:lvl1pPr marL="0" indent="0">
              <a:buNone/>
              <a:defRPr sz="1710"/>
            </a:lvl1pPr>
            <a:lvl2pPr marL="390952" indent="0">
              <a:buNone/>
              <a:defRPr sz="1539"/>
            </a:lvl2pPr>
            <a:lvl3pPr marL="781903" indent="0">
              <a:buNone/>
              <a:defRPr sz="1368"/>
            </a:lvl3pPr>
            <a:lvl4pPr marL="1172855" indent="0">
              <a:buNone/>
              <a:defRPr sz="1197"/>
            </a:lvl4pPr>
            <a:lvl5pPr marL="1563807" indent="0">
              <a:buNone/>
              <a:defRPr sz="1197"/>
            </a:lvl5pPr>
            <a:lvl6pPr marL="1954759" indent="0">
              <a:buNone/>
              <a:defRPr sz="1197"/>
            </a:lvl6pPr>
            <a:lvl7pPr marL="2345710" indent="0">
              <a:buNone/>
              <a:defRPr sz="1197"/>
            </a:lvl7pPr>
            <a:lvl8pPr marL="2736662" indent="0">
              <a:buNone/>
              <a:defRPr sz="1197"/>
            </a:lvl8pPr>
            <a:lvl9pPr marL="3127614" indent="0">
              <a:buNone/>
              <a:defRPr sz="1197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4028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54" y="1380816"/>
            <a:ext cx="5440788" cy="4611835"/>
          </a:xfrm>
        </p:spPr>
        <p:txBody>
          <a:bodyPr/>
          <a:lstStyle>
            <a:lvl1pPr>
              <a:defRPr sz="2394"/>
            </a:lvl1pPr>
            <a:lvl2pPr>
              <a:defRPr sz="2052"/>
            </a:lvl2pPr>
            <a:lvl3pPr>
              <a:defRPr sz="1710"/>
            </a:lvl3pPr>
            <a:lvl4pPr>
              <a:defRPr sz="1539"/>
            </a:lvl4pPr>
            <a:lvl5pPr>
              <a:defRPr sz="1539"/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601" y="1380816"/>
            <a:ext cx="5440788" cy="4611835"/>
          </a:xfrm>
        </p:spPr>
        <p:txBody>
          <a:bodyPr/>
          <a:lstStyle>
            <a:lvl1pPr>
              <a:defRPr sz="2394"/>
            </a:lvl1pPr>
            <a:lvl2pPr>
              <a:defRPr sz="2052"/>
            </a:lvl2pPr>
            <a:lvl3pPr>
              <a:defRPr sz="1710"/>
            </a:lvl3pPr>
            <a:lvl4pPr>
              <a:defRPr sz="1539"/>
            </a:lvl4pPr>
            <a:lvl5pPr>
              <a:defRPr sz="1539"/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317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 dirty="0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2876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5012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63" y="1534880"/>
            <a:ext cx="5386489" cy="639293"/>
          </a:xfrm>
        </p:spPr>
        <p:txBody>
          <a:bodyPr anchor="b"/>
          <a:lstStyle>
            <a:lvl1pPr marL="0" indent="0">
              <a:buNone/>
              <a:defRPr sz="2052" b="1"/>
            </a:lvl1pPr>
            <a:lvl2pPr marL="390952" indent="0">
              <a:buNone/>
              <a:defRPr sz="1710" b="1"/>
            </a:lvl2pPr>
            <a:lvl3pPr marL="781903" indent="0">
              <a:buNone/>
              <a:defRPr sz="1539" b="1"/>
            </a:lvl3pPr>
            <a:lvl4pPr marL="1172855" indent="0">
              <a:buNone/>
              <a:defRPr sz="1368" b="1"/>
            </a:lvl4pPr>
            <a:lvl5pPr marL="1563807" indent="0">
              <a:buNone/>
              <a:defRPr sz="1368" b="1"/>
            </a:lvl5pPr>
            <a:lvl6pPr marL="1954759" indent="0">
              <a:buNone/>
              <a:defRPr sz="1368" b="1"/>
            </a:lvl6pPr>
            <a:lvl7pPr marL="2345710" indent="0">
              <a:buNone/>
              <a:defRPr sz="1368" b="1"/>
            </a:lvl7pPr>
            <a:lvl8pPr marL="2736662" indent="0">
              <a:buNone/>
              <a:defRPr sz="1368" b="1"/>
            </a:lvl8pPr>
            <a:lvl9pPr marL="3127614" indent="0">
              <a:buNone/>
              <a:defRPr sz="136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63" y="2174173"/>
            <a:ext cx="5386489" cy="3952385"/>
          </a:xfrm>
        </p:spPr>
        <p:txBody>
          <a:bodyPr/>
          <a:lstStyle>
            <a:lvl1pPr>
              <a:defRPr sz="2052"/>
            </a:lvl1pPr>
            <a:lvl2pPr>
              <a:defRPr sz="1710"/>
            </a:lvl2pPr>
            <a:lvl3pPr>
              <a:defRPr sz="1539"/>
            </a:lvl3pPr>
            <a:lvl4pPr>
              <a:defRPr sz="1368"/>
            </a:lvl4pPr>
            <a:lvl5pPr>
              <a:defRPr sz="1368"/>
            </a:lvl5pPr>
            <a:lvl6pPr>
              <a:defRPr sz="1368"/>
            </a:lvl6pPr>
            <a:lvl7pPr>
              <a:defRPr sz="1368"/>
            </a:lvl7pPr>
            <a:lvl8pPr>
              <a:defRPr sz="1368"/>
            </a:lvl8pPr>
            <a:lvl9pPr>
              <a:defRPr sz="136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39" y="1534880"/>
            <a:ext cx="5388300" cy="639293"/>
          </a:xfrm>
        </p:spPr>
        <p:txBody>
          <a:bodyPr anchor="b"/>
          <a:lstStyle>
            <a:lvl1pPr marL="0" indent="0">
              <a:buNone/>
              <a:defRPr sz="2052" b="1"/>
            </a:lvl1pPr>
            <a:lvl2pPr marL="390952" indent="0">
              <a:buNone/>
              <a:defRPr sz="1710" b="1"/>
            </a:lvl2pPr>
            <a:lvl3pPr marL="781903" indent="0">
              <a:buNone/>
              <a:defRPr sz="1539" b="1"/>
            </a:lvl3pPr>
            <a:lvl4pPr marL="1172855" indent="0">
              <a:buNone/>
              <a:defRPr sz="1368" b="1"/>
            </a:lvl4pPr>
            <a:lvl5pPr marL="1563807" indent="0">
              <a:buNone/>
              <a:defRPr sz="1368" b="1"/>
            </a:lvl5pPr>
            <a:lvl6pPr marL="1954759" indent="0">
              <a:buNone/>
              <a:defRPr sz="1368" b="1"/>
            </a:lvl6pPr>
            <a:lvl7pPr marL="2345710" indent="0">
              <a:buNone/>
              <a:defRPr sz="1368" b="1"/>
            </a:lvl7pPr>
            <a:lvl8pPr marL="2736662" indent="0">
              <a:buNone/>
              <a:defRPr sz="1368" b="1"/>
            </a:lvl8pPr>
            <a:lvl9pPr marL="3127614" indent="0">
              <a:buNone/>
              <a:defRPr sz="136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39" y="2174173"/>
            <a:ext cx="5388300" cy="3952385"/>
          </a:xfrm>
        </p:spPr>
        <p:txBody>
          <a:bodyPr/>
          <a:lstStyle>
            <a:lvl1pPr>
              <a:defRPr sz="2052"/>
            </a:lvl1pPr>
            <a:lvl2pPr>
              <a:defRPr sz="1710"/>
            </a:lvl2pPr>
            <a:lvl3pPr>
              <a:defRPr sz="1539"/>
            </a:lvl3pPr>
            <a:lvl4pPr>
              <a:defRPr sz="1368"/>
            </a:lvl4pPr>
            <a:lvl5pPr>
              <a:defRPr sz="1368"/>
            </a:lvl5pPr>
            <a:lvl6pPr>
              <a:defRPr sz="1368"/>
            </a:lvl6pPr>
            <a:lvl7pPr>
              <a:defRPr sz="1368"/>
            </a:lvl7pPr>
            <a:lvl8pPr>
              <a:defRPr sz="1368"/>
            </a:lvl8pPr>
            <a:lvl9pPr>
              <a:defRPr sz="136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54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300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521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3572"/>
            <a:ext cx="4010908" cy="1161958"/>
          </a:xfrm>
        </p:spPr>
        <p:txBody>
          <a:bodyPr anchor="b"/>
          <a:lstStyle>
            <a:lvl1pPr algn="l">
              <a:defRPr sz="171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78" y="273571"/>
            <a:ext cx="6814561" cy="5852986"/>
          </a:xfrm>
        </p:spPr>
        <p:txBody>
          <a:bodyPr/>
          <a:lstStyle>
            <a:lvl1pPr>
              <a:defRPr sz="2736"/>
            </a:lvl1pPr>
            <a:lvl2pPr>
              <a:defRPr sz="2394"/>
            </a:lvl2pPr>
            <a:lvl3pPr>
              <a:defRPr sz="2052"/>
            </a:lvl3pPr>
            <a:lvl4pPr>
              <a:defRPr sz="1710"/>
            </a:lvl4pPr>
            <a:lvl5pPr>
              <a:defRPr sz="1710"/>
            </a:lvl5pPr>
            <a:lvl6pPr>
              <a:defRPr sz="1710"/>
            </a:lvl6pPr>
            <a:lvl7pPr>
              <a:defRPr sz="1710"/>
            </a:lvl7pPr>
            <a:lvl8pPr>
              <a:defRPr sz="1710"/>
            </a:lvl8pPr>
            <a:lvl9pPr>
              <a:defRPr sz="171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63" y="1435531"/>
            <a:ext cx="4010908" cy="4691027"/>
          </a:xfrm>
        </p:spPr>
        <p:txBody>
          <a:bodyPr/>
          <a:lstStyle>
            <a:lvl1pPr marL="0" indent="0">
              <a:buNone/>
              <a:defRPr sz="1197"/>
            </a:lvl1pPr>
            <a:lvl2pPr marL="390952" indent="0">
              <a:buNone/>
              <a:defRPr sz="1026"/>
            </a:lvl2pPr>
            <a:lvl3pPr marL="781903" indent="0">
              <a:buNone/>
              <a:defRPr sz="855"/>
            </a:lvl3pPr>
            <a:lvl4pPr marL="1172855" indent="0">
              <a:buNone/>
              <a:defRPr sz="770"/>
            </a:lvl4pPr>
            <a:lvl5pPr marL="1563807" indent="0">
              <a:buNone/>
              <a:defRPr sz="770"/>
            </a:lvl5pPr>
            <a:lvl6pPr marL="1954759" indent="0">
              <a:buNone/>
              <a:defRPr sz="770"/>
            </a:lvl6pPr>
            <a:lvl7pPr marL="2345710" indent="0">
              <a:buNone/>
              <a:defRPr sz="770"/>
            </a:lvl7pPr>
            <a:lvl8pPr marL="2736662" indent="0">
              <a:buNone/>
              <a:defRPr sz="770"/>
            </a:lvl8pPr>
            <a:lvl9pPr marL="3127614" indent="0">
              <a:buNone/>
              <a:defRPr sz="77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491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70" y="4800456"/>
            <a:ext cx="7315924" cy="567300"/>
          </a:xfrm>
        </p:spPr>
        <p:txBody>
          <a:bodyPr anchor="b"/>
          <a:lstStyle>
            <a:lvl1pPr algn="l">
              <a:defRPr sz="171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70" y="613376"/>
            <a:ext cx="7315924" cy="4113648"/>
          </a:xfrm>
        </p:spPr>
        <p:txBody>
          <a:bodyPr/>
          <a:lstStyle>
            <a:lvl1pPr marL="0" indent="0">
              <a:buNone/>
              <a:defRPr sz="2736"/>
            </a:lvl1pPr>
            <a:lvl2pPr marL="390952" indent="0">
              <a:buNone/>
              <a:defRPr sz="2394"/>
            </a:lvl2pPr>
            <a:lvl3pPr marL="781903" indent="0">
              <a:buNone/>
              <a:defRPr sz="2052"/>
            </a:lvl3pPr>
            <a:lvl4pPr marL="1172855" indent="0">
              <a:buNone/>
              <a:defRPr sz="1710"/>
            </a:lvl4pPr>
            <a:lvl5pPr marL="1563807" indent="0">
              <a:buNone/>
              <a:defRPr sz="1710"/>
            </a:lvl5pPr>
            <a:lvl6pPr marL="1954759" indent="0">
              <a:buNone/>
              <a:defRPr sz="1710"/>
            </a:lvl6pPr>
            <a:lvl7pPr marL="2345710" indent="0">
              <a:buNone/>
              <a:defRPr sz="1710"/>
            </a:lvl7pPr>
            <a:lvl8pPr marL="2736662" indent="0">
              <a:buNone/>
              <a:defRPr sz="1710"/>
            </a:lvl8pPr>
            <a:lvl9pPr marL="3127614" indent="0">
              <a:buNone/>
              <a:defRPr sz="171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70" y="5367757"/>
            <a:ext cx="7315924" cy="804876"/>
          </a:xfrm>
        </p:spPr>
        <p:txBody>
          <a:bodyPr/>
          <a:lstStyle>
            <a:lvl1pPr marL="0" indent="0">
              <a:buNone/>
              <a:defRPr sz="1197"/>
            </a:lvl1pPr>
            <a:lvl2pPr marL="390952" indent="0">
              <a:buNone/>
              <a:defRPr sz="1026"/>
            </a:lvl2pPr>
            <a:lvl3pPr marL="781903" indent="0">
              <a:buNone/>
              <a:defRPr sz="855"/>
            </a:lvl3pPr>
            <a:lvl4pPr marL="1172855" indent="0">
              <a:buNone/>
              <a:defRPr sz="770"/>
            </a:lvl4pPr>
            <a:lvl5pPr marL="1563807" indent="0">
              <a:buNone/>
              <a:defRPr sz="770"/>
            </a:lvl5pPr>
            <a:lvl6pPr marL="1954759" indent="0">
              <a:buNone/>
              <a:defRPr sz="770"/>
            </a:lvl6pPr>
            <a:lvl7pPr marL="2345710" indent="0">
              <a:buNone/>
              <a:defRPr sz="770"/>
            </a:lvl7pPr>
            <a:lvl8pPr marL="2736662" indent="0">
              <a:buNone/>
              <a:defRPr sz="770"/>
            </a:lvl8pPr>
            <a:lvl9pPr marL="3127614" indent="0">
              <a:buNone/>
              <a:defRPr sz="77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1183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774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3" cy="599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632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5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45717" rtl="1" fontAlgn="base">
              <a:spcBef>
                <a:spcPct val="0"/>
              </a:spcBef>
              <a:spcAft>
                <a:spcPct val="0"/>
              </a:spcAft>
            </a:pPr>
            <a:endParaRPr lang="fr-CH" sz="3335" b="1" dirty="0">
              <a:solidFill>
                <a:srgbClr val="63646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76321" y="6421879"/>
            <a:ext cx="2844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45717" rtl="1" fontAlgn="base">
              <a:spcBef>
                <a:spcPct val="0"/>
              </a:spcBef>
              <a:spcAft>
                <a:spcPct val="0"/>
              </a:spcAft>
            </a:pPr>
            <a:fld id="{EAC9EF76-D347-4DE5-8542-F97088302A87}" type="slidenum">
              <a:rPr lang="fr-CH" sz="3335" b="1" smtClean="0">
                <a:solidFill>
                  <a:srgbClr val="636463">
                    <a:tint val="75000"/>
                  </a:srgbClr>
                </a:solidFill>
              </a:rPr>
              <a:pPr defTabSz="445717" rtl="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CH" sz="3335" b="1" dirty="0">
              <a:solidFill>
                <a:srgbClr val="6364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2635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75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58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6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7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33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9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50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09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67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14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593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671" y="482569"/>
            <a:ext cx="10623549" cy="51296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 defTabSz="6857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1" kern="1200" cap="none" spc="0" baseline="0" dirty="0">
                <a:ln w="3175">
                  <a:noFill/>
                </a:ln>
                <a:solidFill>
                  <a:srgbClr val="C00000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93954" y="6461491"/>
            <a:ext cx="588433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750">
                <a:solidFill>
                  <a:schemeClr val="tx1"/>
                </a:solidFill>
              </a:defRPr>
            </a:lvl1pPr>
          </a:lstStyle>
          <a:p>
            <a:pPr defTabSz="685700"/>
            <a:fld id="{5437CAD2-A3BF-4ED8-98C0-729666A7D8A5}" type="slidenum">
              <a:rPr lang="en-US" smtClean="0">
                <a:solidFill>
                  <a:srgbClr val="59452A"/>
                </a:solidFill>
              </a:rPr>
              <a:pPr defTabSz="685700"/>
              <a:t>‹#›</a:t>
            </a:fld>
            <a:endParaRPr lang="en-US" dirty="0">
              <a:solidFill>
                <a:srgbClr val="59452A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50363" y="1531737"/>
            <a:ext cx="10602383" cy="43783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2826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49"/>
            <a:ext cx="10363200" cy="1362075"/>
          </a:xfrm>
        </p:spPr>
        <p:txBody>
          <a:bodyPr anchor="t"/>
          <a:lstStyle>
            <a:lvl1pPr algn="l">
              <a:defRPr sz="315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2"/>
            <a:ext cx="10363200" cy="1500187"/>
          </a:xfrm>
        </p:spPr>
        <p:txBody>
          <a:bodyPr anchor="b"/>
          <a:lstStyle>
            <a:lvl1pPr marL="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1pPr>
            <a:lvl2pPr marL="358439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2pPr>
            <a:lvl3pPr marL="7168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75316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4pPr>
            <a:lvl5pPr marL="1433753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5pPr>
            <a:lvl6pPr marL="1792196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6pPr>
            <a:lvl7pPr marL="2150636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7pPr>
            <a:lvl8pPr marL="2509074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8pPr>
            <a:lvl9pPr marL="2867513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01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175"/>
            </a:lvl1pPr>
            <a:lvl2pPr>
              <a:defRPr sz="1875"/>
            </a:lvl2pPr>
            <a:lvl3pPr>
              <a:defRPr sz="1575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175"/>
            </a:lvl1pPr>
            <a:lvl2pPr>
              <a:defRPr sz="1875"/>
            </a:lvl2pPr>
            <a:lvl3pPr>
              <a:defRPr sz="1575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941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5"/>
            <a:ext cx="5386917" cy="639763"/>
          </a:xfrm>
        </p:spPr>
        <p:txBody>
          <a:bodyPr anchor="b"/>
          <a:lstStyle>
            <a:lvl1pPr marL="0" indent="0">
              <a:buNone/>
              <a:defRPr sz="1875" b="1"/>
            </a:lvl1pPr>
            <a:lvl2pPr marL="358439" indent="0">
              <a:buNone/>
              <a:defRPr sz="1575" b="1"/>
            </a:lvl2pPr>
            <a:lvl3pPr marL="716876" indent="0">
              <a:buNone/>
              <a:defRPr sz="1425" b="1"/>
            </a:lvl3pPr>
            <a:lvl4pPr marL="1075316" indent="0">
              <a:buNone/>
              <a:defRPr sz="1200" b="1"/>
            </a:lvl4pPr>
            <a:lvl5pPr marL="1433753" indent="0">
              <a:buNone/>
              <a:defRPr sz="1200" b="1"/>
            </a:lvl5pPr>
            <a:lvl6pPr marL="1792196" indent="0">
              <a:buNone/>
              <a:defRPr sz="1200" b="1"/>
            </a:lvl6pPr>
            <a:lvl7pPr marL="2150636" indent="0">
              <a:buNone/>
              <a:defRPr sz="1200" b="1"/>
            </a:lvl7pPr>
            <a:lvl8pPr marL="2509074" indent="0">
              <a:buNone/>
              <a:defRPr sz="1200" b="1"/>
            </a:lvl8pPr>
            <a:lvl9pPr marL="2867513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75"/>
            </a:lvl1pPr>
            <a:lvl2pPr>
              <a:defRPr sz="1575"/>
            </a:lvl2pPr>
            <a:lvl3pPr>
              <a:defRPr sz="142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2" y="1535115"/>
            <a:ext cx="5389033" cy="639763"/>
          </a:xfrm>
        </p:spPr>
        <p:txBody>
          <a:bodyPr anchor="b"/>
          <a:lstStyle>
            <a:lvl1pPr marL="0" indent="0">
              <a:buNone/>
              <a:defRPr sz="1875" b="1"/>
            </a:lvl1pPr>
            <a:lvl2pPr marL="358439" indent="0">
              <a:buNone/>
              <a:defRPr sz="1575" b="1"/>
            </a:lvl2pPr>
            <a:lvl3pPr marL="716876" indent="0">
              <a:buNone/>
              <a:defRPr sz="1425" b="1"/>
            </a:lvl3pPr>
            <a:lvl4pPr marL="1075316" indent="0">
              <a:buNone/>
              <a:defRPr sz="1200" b="1"/>
            </a:lvl4pPr>
            <a:lvl5pPr marL="1433753" indent="0">
              <a:buNone/>
              <a:defRPr sz="1200" b="1"/>
            </a:lvl5pPr>
            <a:lvl6pPr marL="1792196" indent="0">
              <a:buNone/>
              <a:defRPr sz="1200" b="1"/>
            </a:lvl6pPr>
            <a:lvl7pPr marL="2150636" indent="0">
              <a:buNone/>
              <a:defRPr sz="1200" b="1"/>
            </a:lvl7pPr>
            <a:lvl8pPr marL="2509074" indent="0">
              <a:buNone/>
              <a:defRPr sz="1200" b="1"/>
            </a:lvl8pPr>
            <a:lvl9pPr marL="2867513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2" y="2174875"/>
            <a:ext cx="5389033" cy="3951288"/>
          </a:xfrm>
        </p:spPr>
        <p:txBody>
          <a:bodyPr/>
          <a:lstStyle>
            <a:lvl1pPr>
              <a:defRPr sz="1875"/>
            </a:lvl1pPr>
            <a:lvl2pPr>
              <a:defRPr sz="1575"/>
            </a:lvl2pPr>
            <a:lvl3pPr>
              <a:defRPr sz="142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7507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662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5372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4" y="273051"/>
            <a:ext cx="4011084" cy="1162051"/>
          </a:xfrm>
        </p:spPr>
        <p:txBody>
          <a:bodyPr anchor="b"/>
          <a:lstStyle>
            <a:lvl1pPr algn="l">
              <a:defRPr sz="1575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6" y="273091"/>
            <a:ext cx="6815667" cy="5853113"/>
          </a:xfrm>
        </p:spPr>
        <p:txBody>
          <a:bodyPr/>
          <a:lstStyle>
            <a:lvl1pPr>
              <a:defRPr sz="2550"/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4" y="1435104"/>
            <a:ext cx="4011084" cy="4691063"/>
          </a:xfrm>
        </p:spPr>
        <p:txBody>
          <a:bodyPr/>
          <a:lstStyle>
            <a:lvl1pPr marL="0" indent="0">
              <a:buNone/>
              <a:defRPr sz="1125"/>
            </a:lvl1pPr>
            <a:lvl2pPr marL="358439" indent="0">
              <a:buNone/>
              <a:defRPr sz="975"/>
            </a:lvl2pPr>
            <a:lvl3pPr marL="716876" indent="0">
              <a:buNone/>
              <a:defRPr sz="750"/>
            </a:lvl3pPr>
            <a:lvl4pPr marL="1075316" indent="0">
              <a:buNone/>
              <a:defRPr sz="750"/>
            </a:lvl4pPr>
            <a:lvl5pPr marL="1433753" indent="0">
              <a:buNone/>
              <a:defRPr sz="750"/>
            </a:lvl5pPr>
            <a:lvl6pPr marL="1792196" indent="0">
              <a:buNone/>
              <a:defRPr sz="750"/>
            </a:lvl6pPr>
            <a:lvl7pPr marL="2150636" indent="0">
              <a:buNone/>
              <a:defRPr sz="750"/>
            </a:lvl7pPr>
            <a:lvl8pPr marL="2509074" indent="0">
              <a:buNone/>
              <a:defRPr sz="750"/>
            </a:lvl8pPr>
            <a:lvl9pPr marL="2867513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8094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1575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550"/>
            </a:lvl1pPr>
            <a:lvl2pPr marL="358439" indent="0">
              <a:buNone/>
              <a:defRPr sz="2175"/>
            </a:lvl2pPr>
            <a:lvl3pPr marL="716876" indent="0">
              <a:buNone/>
              <a:defRPr sz="1875"/>
            </a:lvl3pPr>
            <a:lvl4pPr marL="1075316" indent="0">
              <a:buNone/>
              <a:defRPr sz="1575"/>
            </a:lvl4pPr>
            <a:lvl5pPr marL="1433753" indent="0">
              <a:buNone/>
              <a:defRPr sz="1575"/>
            </a:lvl5pPr>
            <a:lvl6pPr marL="1792196" indent="0">
              <a:buNone/>
              <a:defRPr sz="1575"/>
            </a:lvl6pPr>
            <a:lvl7pPr marL="2150636" indent="0">
              <a:buNone/>
              <a:defRPr sz="1575"/>
            </a:lvl7pPr>
            <a:lvl8pPr marL="2509074" indent="0">
              <a:buNone/>
              <a:defRPr sz="1575"/>
            </a:lvl8pPr>
            <a:lvl9pPr marL="2867513" indent="0">
              <a:buNone/>
              <a:defRPr sz="157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125"/>
            </a:lvl1pPr>
            <a:lvl2pPr marL="358439" indent="0">
              <a:buNone/>
              <a:defRPr sz="975"/>
            </a:lvl2pPr>
            <a:lvl3pPr marL="716876" indent="0">
              <a:buNone/>
              <a:defRPr sz="750"/>
            </a:lvl3pPr>
            <a:lvl4pPr marL="1075316" indent="0">
              <a:buNone/>
              <a:defRPr sz="750"/>
            </a:lvl4pPr>
            <a:lvl5pPr marL="1433753" indent="0">
              <a:buNone/>
              <a:defRPr sz="750"/>
            </a:lvl5pPr>
            <a:lvl6pPr marL="1792196" indent="0">
              <a:buNone/>
              <a:defRPr sz="750"/>
            </a:lvl6pPr>
            <a:lvl7pPr marL="2150636" indent="0">
              <a:buNone/>
              <a:defRPr sz="750"/>
            </a:lvl7pPr>
            <a:lvl8pPr marL="2509074" indent="0">
              <a:buNone/>
              <a:defRPr sz="750"/>
            </a:lvl8pPr>
            <a:lvl9pPr marL="2867513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9182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401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86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86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2176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4034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>
                <a:solidFill>
                  <a:prstClr val="black"/>
                </a:solidFill>
              </a:rPr>
              <a:pPr/>
              <a:t>8/16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7835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118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08" y="4407378"/>
            <a:ext cx="10363924" cy="1362097"/>
          </a:xfrm>
        </p:spPr>
        <p:txBody>
          <a:bodyPr anchor="t"/>
          <a:lstStyle>
            <a:lvl1pPr algn="l">
              <a:defRPr sz="3628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08" y="2907056"/>
            <a:ext cx="10363924" cy="1500322"/>
          </a:xfrm>
        </p:spPr>
        <p:txBody>
          <a:bodyPr anchor="b"/>
          <a:lstStyle>
            <a:lvl1pPr marL="0" indent="0">
              <a:buNone/>
              <a:defRPr sz="1814"/>
            </a:lvl1pPr>
            <a:lvl2pPr marL="414680" indent="0">
              <a:buNone/>
              <a:defRPr sz="1633"/>
            </a:lvl2pPr>
            <a:lvl3pPr marL="829361" indent="0">
              <a:buNone/>
              <a:defRPr sz="1451"/>
            </a:lvl3pPr>
            <a:lvl4pPr marL="1244041" indent="0">
              <a:buNone/>
              <a:defRPr sz="1270"/>
            </a:lvl4pPr>
            <a:lvl5pPr marL="1658722" indent="0">
              <a:buNone/>
              <a:defRPr sz="1270"/>
            </a:lvl5pPr>
            <a:lvl6pPr marL="2073402" indent="0">
              <a:buNone/>
              <a:defRPr sz="1270"/>
            </a:lvl6pPr>
            <a:lvl7pPr marL="2488082" indent="0">
              <a:buNone/>
              <a:defRPr sz="1270"/>
            </a:lvl7pPr>
            <a:lvl8pPr marL="2902763" indent="0">
              <a:buNone/>
              <a:defRPr sz="1270"/>
            </a:lvl8pPr>
            <a:lvl9pPr marL="3317443" indent="0">
              <a:buNone/>
              <a:defRPr sz="127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4001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53" y="1380815"/>
            <a:ext cx="5440789" cy="4611835"/>
          </a:xfrm>
        </p:spPr>
        <p:txBody>
          <a:bodyPr/>
          <a:lstStyle>
            <a:lvl1pPr>
              <a:defRPr sz="2540"/>
            </a:lvl1pPr>
            <a:lvl2pPr>
              <a:defRPr sz="2177"/>
            </a:lvl2pPr>
            <a:lvl3pPr>
              <a:defRPr sz="1814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599" y="1380815"/>
            <a:ext cx="5440789" cy="4611835"/>
          </a:xfrm>
        </p:spPr>
        <p:txBody>
          <a:bodyPr/>
          <a:lstStyle>
            <a:lvl1pPr>
              <a:defRPr sz="2540"/>
            </a:lvl1pPr>
            <a:lvl2pPr>
              <a:defRPr sz="2177"/>
            </a:lvl2pPr>
            <a:lvl3pPr>
              <a:defRPr sz="1814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77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5012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63" y="1534879"/>
            <a:ext cx="5386489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63" y="2174172"/>
            <a:ext cx="5386489" cy="3952385"/>
          </a:xfrm>
        </p:spPr>
        <p:txBody>
          <a:bodyPr/>
          <a:lstStyle>
            <a:lvl1pPr>
              <a:defRPr sz="2177"/>
            </a:lvl1pPr>
            <a:lvl2pPr>
              <a:defRPr sz="1814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39" y="1534879"/>
            <a:ext cx="5388300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39" y="2174172"/>
            <a:ext cx="5388300" cy="3952385"/>
          </a:xfrm>
        </p:spPr>
        <p:txBody>
          <a:bodyPr/>
          <a:lstStyle>
            <a:lvl1pPr>
              <a:defRPr sz="2177"/>
            </a:lvl1pPr>
            <a:lvl2pPr>
              <a:defRPr sz="1814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125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2919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5802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3572"/>
            <a:ext cx="4010907" cy="1161958"/>
          </a:xfrm>
        </p:spPr>
        <p:txBody>
          <a:bodyPr anchor="b"/>
          <a:lstStyle>
            <a:lvl1pPr algn="l">
              <a:defRPr sz="1814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78" y="273571"/>
            <a:ext cx="6814561" cy="5852986"/>
          </a:xfrm>
        </p:spPr>
        <p:txBody>
          <a:bodyPr/>
          <a:lstStyle>
            <a:lvl1pPr>
              <a:defRPr sz="2902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63" y="1435530"/>
            <a:ext cx="4010907" cy="4691027"/>
          </a:xfrm>
        </p:spPr>
        <p:txBody>
          <a:bodyPr/>
          <a:lstStyle>
            <a:lvl1pPr marL="0" indent="0">
              <a:buNone/>
              <a:defRPr sz="1270"/>
            </a:lvl1pPr>
            <a:lvl2pPr marL="414680" indent="0">
              <a:buNone/>
              <a:defRPr sz="1088"/>
            </a:lvl2pPr>
            <a:lvl3pPr marL="829361" indent="0">
              <a:buNone/>
              <a:defRPr sz="907"/>
            </a:lvl3pPr>
            <a:lvl4pPr marL="1244041" indent="0">
              <a:buNone/>
              <a:defRPr sz="816"/>
            </a:lvl4pPr>
            <a:lvl5pPr marL="1658722" indent="0">
              <a:buNone/>
              <a:defRPr sz="816"/>
            </a:lvl5pPr>
            <a:lvl6pPr marL="2073402" indent="0">
              <a:buNone/>
              <a:defRPr sz="816"/>
            </a:lvl6pPr>
            <a:lvl7pPr marL="2488082" indent="0">
              <a:buNone/>
              <a:defRPr sz="816"/>
            </a:lvl7pPr>
            <a:lvl8pPr marL="2902763" indent="0">
              <a:buNone/>
              <a:defRPr sz="816"/>
            </a:lvl8pPr>
            <a:lvl9pPr marL="3317443" indent="0">
              <a:buNone/>
              <a:defRPr sz="81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7750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69" y="4800456"/>
            <a:ext cx="7315924" cy="567300"/>
          </a:xfrm>
        </p:spPr>
        <p:txBody>
          <a:bodyPr anchor="b"/>
          <a:lstStyle>
            <a:lvl1pPr algn="l">
              <a:defRPr sz="1814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69" y="613376"/>
            <a:ext cx="7315924" cy="4113648"/>
          </a:xfrm>
        </p:spPr>
        <p:txBody>
          <a:bodyPr/>
          <a:lstStyle>
            <a:lvl1pPr marL="0" indent="0">
              <a:buNone/>
              <a:defRPr sz="2902"/>
            </a:lvl1pPr>
            <a:lvl2pPr marL="414680" indent="0">
              <a:buNone/>
              <a:defRPr sz="2540"/>
            </a:lvl2pPr>
            <a:lvl3pPr marL="829361" indent="0">
              <a:buNone/>
              <a:defRPr sz="2177"/>
            </a:lvl3pPr>
            <a:lvl4pPr marL="1244041" indent="0">
              <a:buNone/>
              <a:defRPr sz="1814"/>
            </a:lvl4pPr>
            <a:lvl5pPr marL="1658722" indent="0">
              <a:buNone/>
              <a:defRPr sz="1814"/>
            </a:lvl5pPr>
            <a:lvl6pPr marL="2073402" indent="0">
              <a:buNone/>
              <a:defRPr sz="1814"/>
            </a:lvl6pPr>
            <a:lvl7pPr marL="2488082" indent="0">
              <a:buNone/>
              <a:defRPr sz="1814"/>
            </a:lvl7pPr>
            <a:lvl8pPr marL="2902763" indent="0">
              <a:buNone/>
              <a:defRPr sz="1814"/>
            </a:lvl8pPr>
            <a:lvl9pPr marL="3317443" indent="0">
              <a:buNone/>
              <a:defRPr sz="1814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69" y="5367757"/>
            <a:ext cx="7315924" cy="804876"/>
          </a:xfrm>
        </p:spPr>
        <p:txBody>
          <a:bodyPr/>
          <a:lstStyle>
            <a:lvl1pPr marL="0" indent="0">
              <a:buNone/>
              <a:defRPr sz="1270"/>
            </a:lvl1pPr>
            <a:lvl2pPr marL="414680" indent="0">
              <a:buNone/>
              <a:defRPr sz="1088"/>
            </a:lvl2pPr>
            <a:lvl3pPr marL="829361" indent="0">
              <a:buNone/>
              <a:defRPr sz="907"/>
            </a:lvl3pPr>
            <a:lvl4pPr marL="1244041" indent="0">
              <a:buNone/>
              <a:defRPr sz="816"/>
            </a:lvl4pPr>
            <a:lvl5pPr marL="1658722" indent="0">
              <a:buNone/>
              <a:defRPr sz="816"/>
            </a:lvl5pPr>
            <a:lvl6pPr marL="2073402" indent="0">
              <a:buNone/>
              <a:defRPr sz="816"/>
            </a:lvl6pPr>
            <a:lvl7pPr marL="2488082" indent="0">
              <a:buNone/>
              <a:defRPr sz="816"/>
            </a:lvl7pPr>
            <a:lvl8pPr marL="2902763" indent="0">
              <a:buNone/>
              <a:defRPr sz="816"/>
            </a:lvl8pPr>
            <a:lvl9pPr marL="3317443" indent="0">
              <a:buNone/>
              <a:defRPr sz="81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95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611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2" cy="599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642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93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6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11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4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72770" rtl="1" fontAlgn="base">
              <a:spcBef>
                <a:spcPct val="0"/>
              </a:spcBef>
              <a:spcAft>
                <a:spcPct val="0"/>
              </a:spcAft>
            </a:pPr>
            <a:endParaRPr lang="fr-CH" sz="3537" b="1" dirty="0">
              <a:solidFill>
                <a:srgbClr val="63646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76321" y="6421878"/>
            <a:ext cx="2844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72770" rtl="1" fontAlgn="base">
              <a:spcBef>
                <a:spcPct val="0"/>
              </a:spcBef>
              <a:spcAft>
                <a:spcPct val="0"/>
              </a:spcAft>
            </a:pPr>
            <a:fld id="{EAC9EF76-D347-4DE5-8542-F97088302A87}" type="slidenum">
              <a:rPr lang="fr-CH" sz="3537" b="1" smtClean="0">
                <a:solidFill>
                  <a:srgbClr val="636463">
                    <a:tint val="75000"/>
                  </a:srgbClr>
                </a:solidFill>
              </a:rPr>
              <a:pPr defTabSz="472770" rtl="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CH" sz="3537" b="1" dirty="0">
              <a:solidFill>
                <a:srgbClr val="6364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3170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864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246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08" y="4407378"/>
            <a:ext cx="10363924" cy="1362097"/>
          </a:xfrm>
        </p:spPr>
        <p:txBody>
          <a:bodyPr anchor="t"/>
          <a:lstStyle>
            <a:lvl1pPr algn="l">
              <a:defRPr sz="3628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08" y="2907056"/>
            <a:ext cx="10363924" cy="1500322"/>
          </a:xfrm>
        </p:spPr>
        <p:txBody>
          <a:bodyPr anchor="b"/>
          <a:lstStyle>
            <a:lvl1pPr marL="0" indent="0">
              <a:buNone/>
              <a:defRPr sz="1814"/>
            </a:lvl1pPr>
            <a:lvl2pPr marL="414680" indent="0">
              <a:buNone/>
              <a:defRPr sz="1633"/>
            </a:lvl2pPr>
            <a:lvl3pPr marL="829361" indent="0">
              <a:buNone/>
              <a:defRPr sz="1451"/>
            </a:lvl3pPr>
            <a:lvl4pPr marL="1244041" indent="0">
              <a:buNone/>
              <a:defRPr sz="1270"/>
            </a:lvl4pPr>
            <a:lvl5pPr marL="1658722" indent="0">
              <a:buNone/>
              <a:defRPr sz="1270"/>
            </a:lvl5pPr>
            <a:lvl6pPr marL="2073402" indent="0">
              <a:buNone/>
              <a:defRPr sz="1270"/>
            </a:lvl6pPr>
            <a:lvl7pPr marL="2488082" indent="0">
              <a:buNone/>
              <a:defRPr sz="1270"/>
            </a:lvl7pPr>
            <a:lvl8pPr marL="2902763" indent="0">
              <a:buNone/>
              <a:defRPr sz="1270"/>
            </a:lvl8pPr>
            <a:lvl9pPr marL="3317443" indent="0">
              <a:buNone/>
              <a:defRPr sz="127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587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53" y="1380815"/>
            <a:ext cx="5440789" cy="4611835"/>
          </a:xfrm>
        </p:spPr>
        <p:txBody>
          <a:bodyPr/>
          <a:lstStyle>
            <a:lvl1pPr>
              <a:defRPr sz="2540"/>
            </a:lvl1pPr>
            <a:lvl2pPr>
              <a:defRPr sz="2177"/>
            </a:lvl2pPr>
            <a:lvl3pPr>
              <a:defRPr sz="1814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599" y="1380815"/>
            <a:ext cx="5440789" cy="4611835"/>
          </a:xfrm>
        </p:spPr>
        <p:txBody>
          <a:bodyPr/>
          <a:lstStyle>
            <a:lvl1pPr>
              <a:defRPr sz="2540"/>
            </a:lvl1pPr>
            <a:lvl2pPr>
              <a:defRPr sz="2177"/>
            </a:lvl2pPr>
            <a:lvl3pPr>
              <a:defRPr sz="1814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5968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5012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63" y="1534879"/>
            <a:ext cx="5386489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63" y="2174172"/>
            <a:ext cx="5386489" cy="3952385"/>
          </a:xfrm>
        </p:spPr>
        <p:txBody>
          <a:bodyPr/>
          <a:lstStyle>
            <a:lvl1pPr>
              <a:defRPr sz="2177"/>
            </a:lvl1pPr>
            <a:lvl2pPr>
              <a:defRPr sz="1814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39" y="1534879"/>
            <a:ext cx="5388300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39" y="2174172"/>
            <a:ext cx="5388300" cy="3952385"/>
          </a:xfrm>
        </p:spPr>
        <p:txBody>
          <a:bodyPr/>
          <a:lstStyle>
            <a:lvl1pPr>
              <a:defRPr sz="2177"/>
            </a:lvl1pPr>
            <a:lvl2pPr>
              <a:defRPr sz="1814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778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888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1704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3572"/>
            <a:ext cx="4010907" cy="1161958"/>
          </a:xfrm>
        </p:spPr>
        <p:txBody>
          <a:bodyPr anchor="b"/>
          <a:lstStyle>
            <a:lvl1pPr algn="l">
              <a:defRPr sz="1814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78" y="273571"/>
            <a:ext cx="6814561" cy="5852986"/>
          </a:xfrm>
        </p:spPr>
        <p:txBody>
          <a:bodyPr/>
          <a:lstStyle>
            <a:lvl1pPr>
              <a:defRPr sz="2902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63" y="1435530"/>
            <a:ext cx="4010907" cy="4691027"/>
          </a:xfrm>
        </p:spPr>
        <p:txBody>
          <a:bodyPr/>
          <a:lstStyle>
            <a:lvl1pPr marL="0" indent="0">
              <a:buNone/>
              <a:defRPr sz="1270"/>
            </a:lvl1pPr>
            <a:lvl2pPr marL="414680" indent="0">
              <a:buNone/>
              <a:defRPr sz="1088"/>
            </a:lvl2pPr>
            <a:lvl3pPr marL="829361" indent="0">
              <a:buNone/>
              <a:defRPr sz="907"/>
            </a:lvl3pPr>
            <a:lvl4pPr marL="1244041" indent="0">
              <a:buNone/>
              <a:defRPr sz="816"/>
            </a:lvl4pPr>
            <a:lvl5pPr marL="1658722" indent="0">
              <a:buNone/>
              <a:defRPr sz="816"/>
            </a:lvl5pPr>
            <a:lvl6pPr marL="2073402" indent="0">
              <a:buNone/>
              <a:defRPr sz="816"/>
            </a:lvl6pPr>
            <a:lvl7pPr marL="2488082" indent="0">
              <a:buNone/>
              <a:defRPr sz="816"/>
            </a:lvl7pPr>
            <a:lvl8pPr marL="2902763" indent="0">
              <a:buNone/>
              <a:defRPr sz="816"/>
            </a:lvl8pPr>
            <a:lvl9pPr marL="3317443" indent="0">
              <a:buNone/>
              <a:defRPr sz="81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7134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69" y="4800456"/>
            <a:ext cx="7315924" cy="567300"/>
          </a:xfrm>
        </p:spPr>
        <p:txBody>
          <a:bodyPr anchor="b"/>
          <a:lstStyle>
            <a:lvl1pPr algn="l">
              <a:defRPr sz="1814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69" y="613376"/>
            <a:ext cx="7315924" cy="4113648"/>
          </a:xfrm>
        </p:spPr>
        <p:txBody>
          <a:bodyPr/>
          <a:lstStyle>
            <a:lvl1pPr marL="0" indent="0">
              <a:buNone/>
              <a:defRPr sz="2902"/>
            </a:lvl1pPr>
            <a:lvl2pPr marL="414680" indent="0">
              <a:buNone/>
              <a:defRPr sz="2540"/>
            </a:lvl2pPr>
            <a:lvl3pPr marL="829361" indent="0">
              <a:buNone/>
              <a:defRPr sz="2177"/>
            </a:lvl3pPr>
            <a:lvl4pPr marL="1244041" indent="0">
              <a:buNone/>
              <a:defRPr sz="1814"/>
            </a:lvl4pPr>
            <a:lvl5pPr marL="1658722" indent="0">
              <a:buNone/>
              <a:defRPr sz="1814"/>
            </a:lvl5pPr>
            <a:lvl6pPr marL="2073402" indent="0">
              <a:buNone/>
              <a:defRPr sz="1814"/>
            </a:lvl6pPr>
            <a:lvl7pPr marL="2488082" indent="0">
              <a:buNone/>
              <a:defRPr sz="1814"/>
            </a:lvl7pPr>
            <a:lvl8pPr marL="2902763" indent="0">
              <a:buNone/>
              <a:defRPr sz="1814"/>
            </a:lvl8pPr>
            <a:lvl9pPr marL="3317443" indent="0">
              <a:buNone/>
              <a:defRPr sz="1814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69" y="5367757"/>
            <a:ext cx="7315924" cy="804876"/>
          </a:xfrm>
        </p:spPr>
        <p:txBody>
          <a:bodyPr/>
          <a:lstStyle>
            <a:lvl1pPr marL="0" indent="0">
              <a:buNone/>
              <a:defRPr sz="1270"/>
            </a:lvl1pPr>
            <a:lvl2pPr marL="414680" indent="0">
              <a:buNone/>
              <a:defRPr sz="1088"/>
            </a:lvl2pPr>
            <a:lvl3pPr marL="829361" indent="0">
              <a:buNone/>
              <a:defRPr sz="907"/>
            </a:lvl3pPr>
            <a:lvl4pPr marL="1244041" indent="0">
              <a:buNone/>
              <a:defRPr sz="816"/>
            </a:lvl4pPr>
            <a:lvl5pPr marL="1658722" indent="0">
              <a:buNone/>
              <a:defRPr sz="816"/>
            </a:lvl5pPr>
            <a:lvl6pPr marL="2073402" indent="0">
              <a:buNone/>
              <a:defRPr sz="816"/>
            </a:lvl6pPr>
            <a:lvl7pPr marL="2488082" indent="0">
              <a:buNone/>
              <a:defRPr sz="816"/>
            </a:lvl7pPr>
            <a:lvl8pPr marL="2902763" indent="0">
              <a:buNone/>
              <a:defRPr sz="816"/>
            </a:lvl8pPr>
            <a:lvl9pPr marL="3317443" indent="0">
              <a:buNone/>
              <a:defRPr sz="81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384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7055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373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2" cy="599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2455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6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11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4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72770" rtl="1" fontAlgn="base">
              <a:spcBef>
                <a:spcPct val="0"/>
              </a:spcBef>
              <a:spcAft>
                <a:spcPct val="0"/>
              </a:spcAft>
            </a:pPr>
            <a:endParaRPr lang="fr-CH" sz="3537" b="1" dirty="0">
              <a:solidFill>
                <a:srgbClr val="63646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76321" y="6421878"/>
            <a:ext cx="28448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pPr defTabSz="472770" rtl="1" fontAlgn="base">
              <a:spcBef>
                <a:spcPct val="0"/>
              </a:spcBef>
              <a:spcAft>
                <a:spcPct val="0"/>
              </a:spcAft>
            </a:pPr>
            <a:fld id="{EAC9EF76-D347-4DE5-8542-F97088302A87}" type="slidenum">
              <a:rPr lang="fr-CH" sz="3537" b="1" smtClean="0">
                <a:solidFill>
                  <a:srgbClr val="636463">
                    <a:tint val="75000"/>
                  </a:srgbClr>
                </a:solidFill>
              </a:rPr>
              <a:pPr defTabSz="472770" rtl="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CH" sz="3537" b="1" dirty="0">
              <a:solidFill>
                <a:srgbClr val="6364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0991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r>
              <a:rPr lang="en-US" dirty="0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13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r>
              <a:rPr lang="en-US" dirty="0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756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52842E03-44F1-7948-B1F7-1A71901E7458}" type="datetimeFigureOut">
              <a:rPr lang="en-US">
                <a:solidFill>
                  <a:prstClr val="black"/>
                </a:solidFill>
              </a:rPr>
              <a:pPr/>
              <a:t>8/16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C66DE-25E7-6040-9211-3376270A5B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6014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672" y="482571"/>
            <a:ext cx="10623549" cy="51296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 defTabSz="51427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50" b="1" kern="1200" cap="none" spc="0" baseline="0" dirty="0">
                <a:ln w="3175">
                  <a:noFill/>
                </a:ln>
                <a:solidFill>
                  <a:srgbClr val="C00000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93956" y="6461493"/>
            <a:ext cx="588433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563">
                <a:solidFill>
                  <a:schemeClr val="tx1"/>
                </a:solidFill>
              </a:defRPr>
            </a:lvl1pPr>
          </a:lstStyle>
          <a:p>
            <a:pPr defTabSz="514275"/>
            <a:fld id="{5437CAD2-A3BF-4ED8-98C0-729666A7D8A5}" type="slidenum">
              <a:rPr lang="en-US" smtClean="0">
                <a:solidFill>
                  <a:srgbClr val="59452A"/>
                </a:solidFill>
              </a:rPr>
              <a:pPr defTabSz="514275"/>
              <a:t>‹#›</a:t>
            </a:fld>
            <a:endParaRPr lang="en-US" dirty="0">
              <a:solidFill>
                <a:srgbClr val="59452A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50365" y="1531737"/>
            <a:ext cx="10602383" cy="43783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1125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90" y="234866"/>
            <a:ext cx="11725484" cy="298327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626136" y="6547009"/>
            <a:ext cx="265653" cy="155496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7A138-F31B-400E-98CF-66E97D74325C}" type="slidenum">
              <a:rPr lang="en-GB" smtClean="0"/>
              <a:pPr>
                <a:defRPr/>
              </a:pPr>
              <a:t>‹#›</a:t>
            </a:fld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8988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>
                <a:solidFill>
                  <a:prstClr val="black"/>
                </a:solidFill>
              </a:rPr>
              <a:pPr/>
              <a:t>8/16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5625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18" y="4407389"/>
            <a:ext cx="10363924" cy="1362097"/>
          </a:xfrm>
          <a:prstGeom prst="rect">
            <a:avLst/>
          </a:prstGeom>
        </p:spPr>
        <p:txBody>
          <a:bodyPr anchor="t"/>
          <a:lstStyle>
            <a:lvl1pPr algn="l">
              <a:defRPr sz="2625" b="1" cap="all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18" y="2907058"/>
            <a:ext cx="10363924" cy="15003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50"/>
            </a:lvl1pPr>
            <a:lvl2pPr marL="300234" indent="0">
              <a:buNone/>
              <a:defRPr sz="1200"/>
            </a:lvl2pPr>
            <a:lvl3pPr marL="600466" indent="0">
              <a:buNone/>
              <a:defRPr sz="1050"/>
            </a:lvl3pPr>
            <a:lvl4pPr marL="900701" indent="0">
              <a:buNone/>
              <a:defRPr sz="900"/>
            </a:lvl4pPr>
            <a:lvl5pPr marL="1200935" indent="0">
              <a:buNone/>
              <a:defRPr sz="900"/>
            </a:lvl5pPr>
            <a:lvl6pPr marL="1501169" indent="0">
              <a:buNone/>
              <a:defRPr sz="900"/>
            </a:lvl6pPr>
            <a:lvl7pPr marL="1801403" indent="0">
              <a:buNone/>
              <a:defRPr sz="900"/>
            </a:lvl7pPr>
            <a:lvl8pPr marL="2101637" indent="0">
              <a:buNone/>
              <a:defRPr sz="900"/>
            </a:lvl8pPr>
            <a:lvl9pPr marL="240187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713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9328"/>
            <a:ext cx="6728883" cy="5535456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7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42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8" y="1718735"/>
            <a:ext cx="11106151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8" indent="-128588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54" indent="-129779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8" y="646258"/>
            <a:ext cx="11106151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3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914400" y="2130425"/>
            <a:ext cx="10363200" cy="14700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/>
            </a:lvl1pPr>
            <a:lvl2pPr marL="0" marR="0" indent="0" algn="l" rtl="0">
              <a:spcBef>
                <a:spcPts val="0"/>
              </a:spcBef>
              <a:defRPr/>
            </a:lvl2pPr>
            <a:lvl3pPr marL="0" marR="0" indent="0" algn="l" rtl="0">
              <a:spcBef>
                <a:spcPts val="0"/>
              </a:spcBef>
              <a:defRPr/>
            </a:lvl3pPr>
            <a:lvl4pPr marL="0" marR="0" indent="0" algn="l" rtl="0">
              <a:spcBef>
                <a:spcPts val="0"/>
              </a:spcBef>
              <a:defRPr/>
            </a:lvl4pPr>
            <a:lvl5pPr marL="0" marR="0" indent="0" algn="l" rtl="0">
              <a:spcBef>
                <a:spcPts val="0"/>
              </a:spcBef>
              <a:defRPr/>
            </a:lvl5pPr>
            <a:lvl6pPr marL="0" marR="0" indent="0" algn="l" rtl="0">
              <a:spcBef>
                <a:spcPts val="0"/>
              </a:spcBef>
              <a:defRPr/>
            </a:lvl6pPr>
            <a:lvl7pPr marL="0" marR="0" indent="0" algn="l" rtl="0">
              <a:spcBef>
                <a:spcPts val="0"/>
              </a:spcBef>
              <a:defRPr/>
            </a:lvl7pPr>
            <a:lvl8pPr marL="0" marR="0" indent="0" algn="l" rtl="0">
              <a:spcBef>
                <a:spcPts val="0"/>
              </a:spcBef>
              <a:defRPr/>
            </a:lvl8pPr>
            <a:lvl9pPr marL="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ubTitle" idx="1"/>
          </p:nvPr>
        </p:nvSpPr>
        <p:spPr>
          <a:xfrm>
            <a:off x="1828803" y="3886204"/>
            <a:ext cx="8534399" cy="175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ctr" rtl="0">
              <a:spcBef>
                <a:spcPts val="480"/>
              </a:spcBef>
              <a:buClr>
                <a:srgbClr val="888888"/>
              </a:buClr>
              <a:buFont typeface="Arial"/>
              <a:buNone/>
              <a:defRPr/>
            </a:lvl1pPr>
            <a:lvl2pPr marL="342900" marR="0" indent="0" algn="ctr" rtl="0">
              <a:spcBef>
                <a:spcPts val="420"/>
              </a:spcBef>
              <a:buClr>
                <a:srgbClr val="888888"/>
              </a:buClr>
              <a:buFont typeface="Arial"/>
              <a:buNone/>
              <a:defRPr/>
            </a:lvl2pPr>
            <a:lvl3pPr marL="685800" marR="0" indent="0" algn="ctr" rtl="0">
              <a:spcBef>
                <a:spcPts val="360"/>
              </a:spcBef>
              <a:buClr>
                <a:srgbClr val="888888"/>
              </a:buClr>
              <a:buFont typeface="Arial"/>
              <a:buNone/>
              <a:defRPr/>
            </a:lvl3pPr>
            <a:lvl4pPr marL="10287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4pPr>
            <a:lvl5pPr marL="13716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5pPr>
            <a:lvl6pPr marL="17145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6pPr>
            <a:lvl7pPr marL="20574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7pPr>
            <a:lvl8pPr marL="24003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8pPr>
            <a:lvl9pPr marL="2743200" marR="0" indent="0" algn="ctr" rtl="0">
              <a:spcBef>
                <a:spcPts val="300"/>
              </a:spcBef>
              <a:buClr>
                <a:srgbClr val="888888"/>
              </a:buClr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dt" idx="10"/>
          </p:nvPr>
        </p:nvSpPr>
        <p:spPr>
          <a:xfrm>
            <a:off x="609603" y="6356350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spcBef>
                <a:spcPts val="0"/>
              </a:spcBef>
              <a:defRPr/>
            </a:lvl1pPr>
            <a:lvl2pPr marL="342900" marR="0" indent="0" algn="l" rtl="0">
              <a:spcBef>
                <a:spcPts val="0"/>
              </a:spcBef>
              <a:defRPr/>
            </a:lvl2pPr>
            <a:lvl3pPr marL="685800" marR="0" indent="0" algn="l" rtl="0">
              <a:spcBef>
                <a:spcPts val="0"/>
              </a:spcBef>
              <a:defRPr/>
            </a:lvl3pPr>
            <a:lvl4pPr marL="1028700" marR="0" indent="0" algn="l" rtl="0">
              <a:spcBef>
                <a:spcPts val="0"/>
              </a:spcBef>
              <a:defRPr/>
            </a:lvl4pPr>
            <a:lvl5pPr marL="1371600" marR="0" indent="0" algn="l" rtl="0">
              <a:spcBef>
                <a:spcPts val="0"/>
              </a:spcBef>
              <a:defRPr/>
            </a:lvl5pPr>
            <a:lvl6pPr marL="1714500" marR="0" indent="0" algn="l" rtl="0">
              <a:spcBef>
                <a:spcPts val="0"/>
              </a:spcBef>
              <a:defRPr/>
            </a:lvl6pPr>
            <a:lvl7pPr marL="2057400" marR="0" indent="0" algn="l" rtl="0">
              <a:spcBef>
                <a:spcPts val="0"/>
              </a:spcBef>
              <a:defRPr/>
            </a:lvl7pPr>
            <a:lvl8pPr marL="2400300" marR="0" indent="0" algn="l" rtl="0">
              <a:spcBef>
                <a:spcPts val="0"/>
              </a:spcBef>
              <a:defRPr/>
            </a:lvl8pPr>
            <a:lvl9pPr marL="2743200" marR="0" indent="0" algn="l" rtl="0">
              <a:spcBef>
                <a:spcPts val="0"/>
              </a:spcBef>
              <a:defRPr/>
            </a:lvl9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Shape 18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spcBef>
                <a:spcPts val="0"/>
              </a:spcBef>
              <a:defRPr/>
            </a:lvl1pPr>
            <a:lvl2pPr marL="342900" marR="0" indent="0" algn="l" rtl="0">
              <a:spcBef>
                <a:spcPts val="0"/>
              </a:spcBef>
              <a:defRPr/>
            </a:lvl2pPr>
            <a:lvl3pPr marL="685800" marR="0" indent="0" algn="l" rtl="0">
              <a:spcBef>
                <a:spcPts val="0"/>
              </a:spcBef>
              <a:defRPr/>
            </a:lvl3pPr>
            <a:lvl4pPr marL="1028700" marR="0" indent="0" algn="l" rtl="0">
              <a:spcBef>
                <a:spcPts val="0"/>
              </a:spcBef>
              <a:defRPr/>
            </a:lvl4pPr>
            <a:lvl5pPr marL="1371600" marR="0" indent="0" algn="l" rtl="0">
              <a:spcBef>
                <a:spcPts val="0"/>
              </a:spcBef>
              <a:defRPr/>
            </a:lvl5pPr>
            <a:lvl6pPr marL="1714500" marR="0" indent="0" algn="l" rtl="0">
              <a:spcBef>
                <a:spcPts val="0"/>
              </a:spcBef>
              <a:defRPr/>
            </a:lvl6pPr>
            <a:lvl7pPr marL="2057400" marR="0" indent="0" algn="l" rtl="0">
              <a:spcBef>
                <a:spcPts val="0"/>
              </a:spcBef>
              <a:defRPr/>
            </a:lvl7pPr>
            <a:lvl8pPr marL="2400300" marR="0" indent="0" algn="l" rtl="0">
              <a:spcBef>
                <a:spcPts val="0"/>
              </a:spcBef>
              <a:defRPr/>
            </a:lvl8pPr>
            <a:lvl9pPr marL="27432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737603" y="6356350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579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590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544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9" y="1718735"/>
            <a:ext cx="11106151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8" indent="-128588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54" indent="-129779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9" y="646258"/>
            <a:ext cx="11106151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9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10"/>
          </p:nvPr>
        </p:nvSpPr>
        <p:spPr>
          <a:xfrm>
            <a:off x="838200" y="6362701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A5230-8F9B-4B3A-A5A7-20FB5919AA47}" type="datetime1">
              <a:rPr lang="fr-FR" sz="1350">
                <a:solidFill>
                  <a:prstClr val="black"/>
                </a:solidFill>
                <a:cs typeface="Arial"/>
                <a:sym typeface="Arial"/>
                <a:rtl val="0"/>
              </a:rPr>
              <a:pPr>
                <a:defRPr/>
              </a:pPr>
              <a:t>16/08/2017</a:t>
            </a:fld>
            <a:endParaRPr lang="fr-FR" sz="135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BC36F-18B7-4AC4-A973-34DBBC7EDDB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1125797"/>
      </p:ext>
    </p:extLst>
  </p:cSld>
  <p:clrMapOvr>
    <a:masterClrMapping/>
  </p:clrMapOvr>
  <p:transition spd="slow"/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77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68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37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06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75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44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13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81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50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7" y="6356351"/>
            <a:ext cx="2844799" cy="365124"/>
          </a:xfrm>
          <a:prstGeom prst="rect">
            <a:avLst/>
          </a:prstGeom>
        </p:spPr>
        <p:txBody>
          <a:bodyPr/>
          <a:lstStyle/>
          <a:p>
            <a:fld id="{7BD11BE1-9DD2-4957-BBE5-006E6E00C7B6}" type="datetimeFigureOut">
              <a:rPr lang="en-US" sz="1350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8/16/2017</a:t>
            </a:fld>
            <a:endParaRPr lang="en-US" sz="1350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7358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28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dt" idx="10"/>
          </p:nvPr>
        </p:nvSpPr>
        <p:spPr>
          <a:xfrm>
            <a:off x="609607" y="6356351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spcBef>
                <a:spcPts val="0"/>
              </a:spcBef>
              <a:defRPr/>
            </a:lvl1pPr>
            <a:lvl2pPr marL="342900" marR="0" indent="0" algn="l" rtl="0">
              <a:spcBef>
                <a:spcPts val="0"/>
              </a:spcBef>
              <a:defRPr/>
            </a:lvl2pPr>
            <a:lvl3pPr marL="685800" marR="0" indent="0" algn="l" rtl="0">
              <a:spcBef>
                <a:spcPts val="0"/>
              </a:spcBef>
              <a:defRPr/>
            </a:lvl3pPr>
            <a:lvl4pPr marL="1028700" marR="0" indent="0" algn="l" rtl="0">
              <a:spcBef>
                <a:spcPts val="0"/>
              </a:spcBef>
              <a:defRPr/>
            </a:lvl4pPr>
            <a:lvl5pPr marL="1371600" marR="0" indent="0" algn="l" rtl="0">
              <a:spcBef>
                <a:spcPts val="0"/>
              </a:spcBef>
              <a:defRPr/>
            </a:lvl5pPr>
            <a:lvl6pPr marL="1714500" marR="0" indent="0" algn="l" rtl="0">
              <a:spcBef>
                <a:spcPts val="0"/>
              </a:spcBef>
              <a:defRPr/>
            </a:lvl6pPr>
            <a:lvl7pPr marL="2057400" marR="0" indent="0" algn="l" rtl="0">
              <a:spcBef>
                <a:spcPts val="0"/>
              </a:spcBef>
              <a:defRPr/>
            </a:lvl7pPr>
            <a:lvl8pPr marL="2400300" marR="0" indent="0" algn="l" rtl="0">
              <a:spcBef>
                <a:spcPts val="0"/>
              </a:spcBef>
              <a:defRPr/>
            </a:lvl8pPr>
            <a:lvl9pPr marL="2743200" marR="0" indent="0" algn="l" rtl="0">
              <a:spcBef>
                <a:spcPts val="0"/>
              </a:spcBef>
              <a:defRPr/>
            </a:lvl9pPr>
          </a:lstStyle>
          <a:p>
            <a:endParaRPr lang="en-US" sz="135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spcBef>
                <a:spcPts val="0"/>
              </a:spcBef>
              <a:defRPr/>
            </a:lvl1pPr>
            <a:lvl2pPr marL="342900" marR="0" indent="0" algn="l" rtl="0">
              <a:spcBef>
                <a:spcPts val="0"/>
              </a:spcBef>
              <a:defRPr/>
            </a:lvl2pPr>
            <a:lvl3pPr marL="685800" marR="0" indent="0" algn="l" rtl="0">
              <a:spcBef>
                <a:spcPts val="0"/>
              </a:spcBef>
              <a:defRPr/>
            </a:lvl3pPr>
            <a:lvl4pPr marL="1028700" marR="0" indent="0" algn="l" rtl="0">
              <a:spcBef>
                <a:spcPts val="0"/>
              </a:spcBef>
              <a:defRPr/>
            </a:lvl4pPr>
            <a:lvl5pPr marL="1371600" marR="0" indent="0" algn="l" rtl="0">
              <a:spcBef>
                <a:spcPts val="0"/>
              </a:spcBef>
              <a:defRPr/>
            </a:lvl5pPr>
            <a:lvl6pPr marL="1714500" marR="0" indent="0" algn="l" rtl="0">
              <a:spcBef>
                <a:spcPts val="0"/>
              </a:spcBef>
              <a:defRPr/>
            </a:lvl6pPr>
            <a:lvl7pPr marL="2057400" marR="0" indent="0" algn="l" rtl="0">
              <a:spcBef>
                <a:spcPts val="0"/>
              </a:spcBef>
              <a:defRPr/>
            </a:lvl7pPr>
            <a:lvl8pPr marL="2400300" marR="0" indent="0" algn="l" rtl="0">
              <a:spcBef>
                <a:spcPts val="0"/>
              </a:spcBef>
              <a:defRPr/>
            </a:lvl8pPr>
            <a:lvl9pPr marL="27432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sldNum" idx="12"/>
          </p:nvPr>
        </p:nvSpPr>
        <p:spPr>
          <a:xfrm>
            <a:off x="8737607" y="6356351"/>
            <a:ext cx="2844799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9075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Header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751670" y="482567"/>
            <a:ext cx="10623549" cy="5129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11193952" y="6461491"/>
            <a:ext cx="588432" cy="36512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750" b="0" i="0" u="none" strike="noStrike" cap="none" baseline="0">
                <a:solidFill>
                  <a:srgbClr val="59452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/>
              <a:pPr>
                <a:buSzPct val="25000"/>
              </a:pPr>
              <a:t>‹#›</a:t>
            </a:fld>
            <a:endParaRPr lang="en-US"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750360" y="1531735"/>
            <a:ext cx="10602381" cy="437839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Calibri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7854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4" y="1718734"/>
            <a:ext cx="11106151" cy="451908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25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9682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6183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5834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8708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4313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2259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293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08873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089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8070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778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353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68482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7" y="1718735"/>
            <a:ext cx="11106151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5" indent="-128585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8" indent="-128585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45" indent="-1297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7" y="646258"/>
            <a:ext cx="11106151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9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828800" y="1981200"/>
            <a:ext cx="8534400" cy="2057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5793695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671" y="482569"/>
            <a:ext cx="10623549" cy="51296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 defTabSz="6857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1" kern="1200" cap="none" spc="0" baseline="0" dirty="0">
                <a:ln w="3175">
                  <a:noFill/>
                </a:ln>
                <a:solidFill>
                  <a:srgbClr val="C00000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93954" y="6461491"/>
            <a:ext cx="588433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750">
                <a:solidFill>
                  <a:schemeClr val="tx1"/>
                </a:solidFill>
              </a:defRPr>
            </a:lvl1pPr>
          </a:lstStyle>
          <a:p>
            <a:pPr defTabSz="685700"/>
            <a:fld id="{5437CAD2-A3BF-4ED8-98C0-729666A7D8A5}" type="slidenum">
              <a:rPr lang="en-US" smtClean="0">
                <a:solidFill>
                  <a:srgbClr val="59452A"/>
                </a:solidFill>
              </a:rPr>
              <a:pPr defTabSz="685700"/>
              <a:t>‹#›</a:t>
            </a:fld>
            <a:endParaRPr lang="en-US" dirty="0">
              <a:solidFill>
                <a:srgbClr val="59452A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50363" y="1531737"/>
            <a:ext cx="10602383" cy="43783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9086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228600"/>
            <a:ext cx="11684000" cy="533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350">
                <a:solidFill>
                  <a:schemeClr val="bg1">
                    <a:lumMod val="85000"/>
                  </a:schemeClr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516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9312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r>
              <a:rPr lang="en-US" smtClean="0"/>
              <a:t>Note:  Gavi requirements of $122.2 million are not included in this slid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377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6254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8" y="1718735"/>
            <a:ext cx="11106151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1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6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8" y="646258"/>
            <a:ext cx="11106151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38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10"/>
          </p:nvPr>
        </p:nvSpPr>
        <p:spPr>
          <a:xfrm>
            <a:off x="838200" y="6362700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A5230-8F9B-4B3A-A5A7-20FB5919AA47}" type="datetime1">
              <a:rPr lang="fr-FR" sz="180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>
                <a:defRPr/>
              </a:pPr>
              <a:t>16/08/2017</a:t>
            </a:fld>
            <a:endParaRPr lang="fr-FR" sz="18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BC36F-18B7-4AC4-A973-34DBBC7EDDB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1804419"/>
      </p:ext>
    </p:extLst>
  </p:cSld>
  <p:clrMapOvr>
    <a:masterClrMapping/>
  </p:clrMapOvr>
  <p:transition spd="slow"/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7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58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7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33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92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5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0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67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6" y="6356351"/>
            <a:ext cx="2844799" cy="365124"/>
          </a:xfrm>
          <a:prstGeom prst="rect">
            <a:avLst/>
          </a:prstGeom>
        </p:spPr>
        <p:txBody>
          <a:bodyPr/>
          <a:lstStyle/>
          <a:p>
            <a:fld id="{7BD11BE1-9DD2-4957-BBE5-006E6E00C7B6}" type="datetimeFigureOut">
              <a:rPr lang="en-US" sz="18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/>
              <a:t>8/16/2017</a:t>
            </a:fld>
            <a:endParaRPr lang="en-US" sz="180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5435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9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98.xml"/><Relationship Id="rId9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3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3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3.w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67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457200">
              <a:defRPr sz="12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cs typeface="Arial" charset="0"/>
              </a:rPr>
              <a:t>Note:  Gavi requirements of $122.2 million are not included in this slide</a:t>
            </a:r>
            <a:endParaRPr lang="en-US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0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889C8B-C402-447F-8FC0-5AC0F2D30C95}" type="datetimeFigureOut">
              <a:rPr lang="en-US" smtClean="0"/>
              <a:t>8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8957F-4EF2-48A9-8B05-C68BB414E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8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457189">
              <a:defRPr sz="12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 smtClean="0">
                <a:ea typeface="+mn-ea"/>
                <a:cs typeface="Arial" charset="0"/>
              </a:rPr>
              <a:t>Note:  Gavi requirements of $122.2 million are not included in this slide</a:t>
            </a:r>
            <a:endParaRPr lang="en-US" kern="1200" dirty="0"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189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 kern="1200">
                <a:ea typeface="+mn-ea"/>
              </a:rPr>
              <a:pPr>
                <a:defRPr/>
              </a:pPr>
              <a:t>‹#›</a:t>
            </a:fld>
            <a:endParaRPr lang="en-US" kern="1200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678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</p:sldLayoutIdLst>
  <p:hf hdr="0" dt="0"/>
  <p:txStyles>
    <p:titleStyle>
      <a:lvl1pPr algn="ctr" defTabSz="457189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1" indent="-342891" algn="l" defTabSz="457189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457200">
              <a:defRPr sz="12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cs typeface="Arial" charset="0"/>
              </a:rPr>
              <a:t>Note:  Gavi requirements of $122.2 million are not included in this slide</a:t>
            </a:r>
            <a:endParaRPr lang="en-US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2744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342892">
              <a:defRPr sz="9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cs typeface="Arial" charset="0"/>
                <a:sym typeface="Arial"/>
                <a:rtl val="0"/>
              </a:rPr>
              <a:t>Note:  Gavi requirements of $122.2 million are not included in this slide</a:t>
            </a:r>
            <a:endParaRPr lang="en-US" dirty="0">
              <a:cs typeface="Arial" charset="0"/>
              <a:sym typeface="Arial"/>
              <a:rtl val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342892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>
                <a:sym typeface="Arial"/>
                <a:rtl val="0"/>
              </a:rPr>
              <a:pPr>
                <a:defRPr/>
              </a:pPr>
              <a:t>‹#›</a:t>
            </a:fld>
            <a:endParaRPr lang="en-US" dirty="0"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261092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dt="0"/>
  <p:txStyles>
    <p:titleStyle>
      <a:lvl1pPr algn="ctr" defTabSz="342892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892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83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75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66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68" indent="-257168" algn="l" defTabSz="34289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3" y="1380816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335" b="1" dirty="0">
              <a:solidFill>
                <a:srgbClr val="000066"/>
              </a:solidFill>
            </a:endParaRPr>
          </a:p>
        </p:txBody>
      </p:sp>
      <p:sp>
        <p:nvSpPr>
          <p:cNvPr id="7180" name="Rectangle 12"/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335" b="1" dirty="0">
              <a:solidFill>
                <a:srgbClr val="000066"/>
              </a:solidFill>
            </a:endParaRPr>
          </a:p>
        </p:txBody>
      </p:sp>
      <p:sp>
        <p:nvSpPr>
          <p:cNvPr id="7181" name="Rectangle 13"/>
          <p:cNvSpPr>
            <a:spLocks noChangeArrowheads="1"/>
          </p:cNvSpPr>
          <p:nvPr/>
        </p:nvSpPr>
        <p:spPr bwMode="auto">
          <a:xfrm>
            <a:off x="1236215" y="6426046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197" b="1" dirty="0" smtClean="0">
                <a:solidFill>
                  <a:srgbClr val="96CCEE"/>
                </a:solidFill>
                <a:latin typeface="Arial Narrow" pitchFamily="34" charset="0"/>
              </a:rPr>
              <a:t>TIMB</a:t>
            </a:r>
            <a:endParaRPr lang="en-GB" altLang="en-US" sz="1197" b="1" dirty="0">
              <a:solidFill>
                <a:srgbClr val="96CCEE"/>
              </a:solidFill>
              <a:latin typeface="Arial Narrow" pitchFamily="34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479646" y="6398688"/>
            <a:ext cx="474213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2732A46-4ECE-43B5-AF18-E7F7E9D993B2}" type="slidenum">
              <a:rPr lang="ar-SA" altLang="en-US" sz="1454" b="1">
                <a:solidFill>
                  <a:srgbClr val="72BBE8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en-US" sz="1454" b="1" dirty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altLang="en-US" sz="2052" b="1" baseline="14000" dirty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8" y="6040167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8707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iming>
    <p:tnLst>
      <p:par>
        <p:cTn id="1" dur="indefinite" restart="never" nodeType="tmRoot"/>
      </p:par>
    </p:tnLst>
  </p:timing>
  <p:txStyles>
    <p:titleStyle>
      <a:lvl1pPr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2pPr>
      <a:lvl3pPr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3pPr>
      <a:lvl4pPr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4pPr>
      <a:lvl5pPr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5pPr>
      <a:lvl6pPr marL="390952"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6pPr>
      <a:lvl7pPr marL="781903"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7pPr>
      <a:lvl8pPr marL="1172855"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8pPr>
      <a:lvl9pPr marL="1563807" algn="ctr" defTabSz="891859" rtl="0" fontAlgn="base">
        <a:spcBef>
          <a:spcPct val="0"/>
        </a:spcBef>
        <a:spcAft>
          <a:spcPct val="0"/>
        </a:spcAft>
        <a:defRPr sz="342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33938" indent="-333938" algn="l" defTabSz="891859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394">
          <a:solidFill>
            <a:srgbClr val="000066"/>
          </a:solidFill>
          <a:latin typeface="+mn-lt"/>
          <a:ea typeface="+mn-ea"/>
          <a:cs typeface="+mn-cs"/>
        </a:defRPr>
      </a:lvl1pPr>
      <a:lvl2pPr marL="785976" indent="-275567" algn="l" defTabSz="891859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052">
          <a:solidFill>
            <a:srgbClr val="000066"/>
          </a:solidFill>
          <a:latin typeface="+mn-lt"/>
          <a:cs typeface="+mn-cs"/>
        </a:defRPr>
      </a:lvl2pPr>
      <a:lvl3pPr marL="1225797" indent="-263349" algn="l" defTabSz="891859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052">
          <a:solidFill>
            <a:srgbClr val="000066"/>
          </a:solidFill>
          <a:latin typeface="Arial Narrow" pitchFamily="34" charset="0"/>
          <a:cs typeface="+mn-cs"/>
        </a:defRPr>
      </a:lvl3pPr>
      <a:lvl4pPr marL="1623536" indent="-221268" algn="l" defTabSz="891859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052">
          <a:solidFill>
            <a:srgbClr val="000066"/>
          </a:solidFill>
          <a:latin typeface="Arial Narrow" pitchFamily="34" charset="0"/>
          <a:cs typeface="+mn-cs"/>
        </a:defRPr>
      </a:lvl4pPr>
      <a:lvl5pPr marL="1939827" indent="-141177" algn="r" defTabSz="891859" rtl="1" fontAlgn="base">
        <a:spcBef>
          <a:spcPct val="20000"/>
        </a:spcBef>
        <a:spcAft>
          <a:spcPct val="0"/>
        </a:spcAft>
        <a:buChar char="»"/>
        <a:defRPr sz="1967">
          <a:solidFill>
            <a:srgbClr val="000066"/>
          </a:solidFill>
          <a:latin typeface="+mn-lt"/>
          <a:cs typeface="+mn-cs"/>
        </a:defRPr>
      </a:lvl5pPr>
      <a:lvl6pPr marL="2330779" indent="-141177" algn="r" defTabSz="891859" rtl="1" fontAlgn="base">
        <a:spcBef>
          <a:spcPct val="20000"/>
        </a:spcBef>
        <a:spcAft>
          <a:spcPct val="0"/>
        </a:spcAft>
        <a:buChar char="»"/>
        <a:defRPr sz="1967">
          <a:solidFill>
            <a:srgbClr val="000066"/>
          </a:solidFill>
          <a:latin typeface="+mn-lt"/>
          <a:cs typeface="+mn-cs"/>
        </a:defRPr>
      </a:lvl6pPr>
      <a:lvl7pPr marL="2721730" indent="-141177" algn="r" defTabSz="891859" rtl="1" fontAlgn="base">
        <a:spcBef>
          <a:spcPct val="20000"/>
        </a:spcBef>
        <a:spcAft>
          <a:spcPct val="0"/>
        </a:spcAft>
        <a:buChar char="»"/>
        <a:defRPr sz="1967">
          <a:solidFill>
            <a:srgbClr val="000066"/>
          </a:solidFill>
          <a:latin typeface="+mn-lt"/>
          <a:cs typeface="+mn-cs"/>
        </a:defRPr>
      </a:lvl7pPr>
      <a:lvl8pPr marL="3112682" indent="-141177" algn="r" defTabSz="891859" rtl="1" fontAlgn="base">
        <a:spcBef>
          <a:spcPct val="20000"/>
        </a:spcBef>
        <a:spcAft>
          <a:spcPct val="0"/>
        </a:spcAft>
        <a:buChar char="»"/>
        <a:defRPr sz="1967">
          <a:solidFill>
            <a:srgbClr val="000066"/>
          </a:solidFill>
          <a:latin typeface="+mn-lt"/>
          <a:cs typeface="+mn-cs"/>
        </a:defRPr>
      </a:lvl8pPr>
      <a:lvl9pPr marL="3503634" indent="-141177" algn="r" defTabSz="891859" rtl="1" fontAlgn="base">
        <a:spcBef>
          <a:spcPct val="20000"/>
        </a:spcBef>
        <a:spcAft>
          <a:spcPct val="0"/>
        </a:spcAft>
        <a:buChar char="»"/>
        <a:defRPr sz="1967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1pPr>
      <a:lvl2pPr marL="39095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2pPr>
      <a:lvl3pPr marL="781903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3pPr>
      <a:lvl4pPr marL="1172855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4pPr>
      <a:lvl5pPr marL="1563807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5pPr>
      <a:lvl6pPr marL="1954759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6pPr>
      <a:lvl7pPr marL="234571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7pPr>
      <a:lvl8pPr marL="273666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8pPr>
      <a:lvl9pPr marL="3127614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5586" tIns="47797" rIns="95586" bIns="47797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5586" tIns="47797" rIns="95586" bIns="4779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98"/>
            <a:ext cx="2844800" cy="365125"/>
          </a:xfrm>
          <a:prstGeom prst="rect">
            <a:avLst/>
          </a:prstGeom>
        </p:spPr>
        <p:txBody>
          <a:bodyPr vert="horz" lIns="95586" tIns="47797" rIns="95586" bIns="47797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6876"/>
            <a:fld id="{7BD11BE1-9DD2-4957-BBE5-006E6E00C7B6}" type="datetimeFigureOut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  <a:sym typeface="Arial"/>
                <a:rtl val="0"/>
              </a:rPr>
              <a:pPr defTabSz="716876"/>
              <a:t>8/16/2017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498"/>
            <a:ext cx="3860800" cy="365125"/>
          </a:xfrm>
          <a:prstGeom prst="rect">
            <a:avLst/>
          </a:prstGeom>
        </p:spPr>
        <p:txBody>
          <a:bodyPr vert="horz" lIns="95586" tIns="47797" rIns="95586" bIns="47797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6876"/>
            <a:endParaRPr lang="en-US">
              <a:solidFill>
                <a:prstClr val="black">
                  <a:tint val="75000"/>
                </a:prstClr>
              </a:solidFill>
              <a:cs typeface="Arial" charset="0"/>
              <a:sym typeface="Arial"/>
              <a:rtl val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498"/>
            <a:ext cx="2844800" cy="365125"/>
          </a:xfrm>
          <a:prstGeom prst="rect">
            <a:avLst/>
          </a:prstGeom>
        </p:spPr>
        <p:txBody>
          <a:bodyPr vert="horz" lIns="95586" tIns="47797" rIns="95586" bIns="47797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6876"/>
            <a:fld id="{410092FF-CF84-4405-BECD-68A06427285F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  <a:sym typeface="Arial"/>
                <a:rtl val="0"/>
              </a:rPr>
              <a:pPr defTabSz="716876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78111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defTabSz="716876" rtl="0" eaLnBrk="1" latinLnBrk="0" hangingPunct="1">
        <a:spcBef>
          <a:spcPct val="0"/>
        </a:spcBef>
        <a:buNone/>
        <a:defRPr sz="34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829" indent="-268829" algn="l" defTabSz="716876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1pPr>
      <a:lvl2pPr marL="582464" indent="-224021" algn="l" defTabSz="716876" rtl="0" eaLnBrk="1" latinLnBrk="0" hangingPunct="1">
        <a:spcBef>
          <a:spcPct val="20000"/>
        </a:spcBef>
        <a:buFont typeface="Arial" pitchFamily="34" charset="0"/>
        <a:buChar char="–"/>
        <a:defRPr sz="2175" kern="1200">
          <a:solidFill>
            <a:schemeClr val="tx1"/>
          </a:solidFill>
          <a:latin typeface="+mn-lt"/>
          <a:ea typeface="+mn-ea"/>
          <a:cs typeface="+mn-cs"/>
        </a:defRPr>
      </a:lvl2pPr>
      <a:lvl3pPr marL="896099" indent="-179219" algn="l" defTabSz="716876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3pPr>
      <a:lvl4pPr marL="1254537" indent="-179219" algn="l" defTabSz="716876" rtl="0" eaLnBrk="1" latinLnBrk="0" hangingPunct="1">
        <a:spcBef>
          <a:spcPct val="20000"/>
        </a:spcBef>
        <a:buFont typeface="Arial" pitchFamily="34" charset="0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12976" indent="-179219" algn="l" defTabSz="716876" rtl="0" eaLnBrk="1" latinLnBrk="0" hangingPunct="1">
        <a:spcBef>
          <a:spcPct val="20000"/>
        </a:spcBef>
        <a:buFont typeface="Arial" pitchFamily="34" charset="0"/>
        <a:buChar char="»"/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1971414" indent="-179219" algn="l" defTabSz="716876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29854" indent="-179219" algn="l" defTabSz="716876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688295" indent="-179219" algn="l" defTabSz="716876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046734" indent="-179219" algn="l" defTabSz="716876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58439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16876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75316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33753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92196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150636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09074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867513" algn="l" defTabSz="716876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2" y="1380815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537" b="1" dirty="0">
              <a:solidFill>
                <a:srgbClr val="000066"/>
              </a:solidFill>
            </a:endParaRPr>
          </a:p>
        </p:txBody>
      </p:sp>
      <p:sp>
        <p:nvSpPr>
          <p:cNvPr id="7180" name="Rectangle 12"/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537" b="1" dirty="0">
              <a:solidFill>
                <a:srgbClr val="000066"/>
              </a:solidFill>
            </a:endParaRPr>
          </a:p>
        </p:txBody>
      </p:sp>
      <p:sp>
        <p:nvSpPr>
          <p:cNvPr id="7181" name="Rectangle 13"/>
          <p:cNvSpPr>
            <a:spLocks noChangeArrowheads="1"/>
          </p:cNvSpPr>
          <p:nvPr/>
        </p:nvSpPr>
        <p:spPr bwMode="auto">
          <a:xfrm>
            <a:off x="1236215" y="6426045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70" b="1" dirty="0" smtClean="0">
                <a:solidFill>
                  <a:srgbClr val="96CCEE"/>
                </a:solidFill>
                <a:latin typeface="Arial Narrow" pitchFamily="34" charset="0"/>
              </a:rPr>
              <a:t>TIMB</a:t>
            </a:r>
            <a:endParaRPr lang="en-GB" altLang="en-US" sz="1270" b="1" dirty="0">
              <a:solidFill>
                <a:srgbClr val="96CCEE"/>
              </a:solidFill>
              <a:latin typeface="Arial Narrow" pitchFamily="34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479645" y="6398688"/>
            <a:ext cx="474214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2732A46-4ECE-43B5-AF18-E7F7E9D993B2}" type="slidenum">
              <a:rPr lang="ar-SA" altLang="en-US" sz="1542" b="1">
                <a:solidFill>
                  <a:srgbClr val="72BBE8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en-US" sz="1542" b="1" dirty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altLang="en-US" sz="2177" b="1" baseline="14000" dirty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8" y="6040166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77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</p:sldLayoutIdLst>
  <p:timing>
    <p:tnLst>
      <p:par>
        <p:cTn id="1" dur="indefinite" restart="never" nodeType="tmRoot"/>
      </p:par>
    </p:tnLst>
  </p:timing>
  <p:txStyles>
    <p:titleStyle>
      <a:lvl1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2pPr>
      <a:lvl3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3pPr>
      <a:lvl4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4pPr>
      <a:lvl5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5pPr>
      <a:lvl6pPr marL="414680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6pPr>
      <a:lvl7pPr marL="829361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7pPr>
      <a:lvl8pPr marL="1244041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8pPr>
      <a:lvl9pPr marL="1658722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54206" indent="-354206" algn="l" defTabSz="945990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540">
          <a:solidFill>
            <a:srgbClr val="000066"/>
          </a:solidFill>
          <a:latin typeface="+mn-lt"/>
          <a:ea typeface="+mn-ea"/>
          <a:cs typeface="+mn-cs"/>
        </a:defRPr>
      </a:lvl1pPr>
      <a:lvl2pPr marL="833681" indent="-292293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77">
          <a:solidFill>
            <a:srgbClr val="000066"/>
          </a:solidFill>
          <a:latin typeface="+mn-lt"/>
          <a:cs typeface="+mn-cs"/>
        </a:defRPr>
      </a:lvl2pPr>
      <a:lvl3pPr marL="1300196" indent="-279333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177">
          <a:solidFill>
            <a:srgbClr val="000066"/>
          </a:solidFill>
          <a:latin typeface="Arial Narrow" pitchFamily="34" charset="0"/>
          <a:cs typeface="+mn-cs"/>
        </a:defRPr>
      </a:lvl3pPr>
      <a:lvl4pPr marL="1722076" indent="-234698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177">
          <a:solidFill>
            <a:srgbClr val="000066"/>
          </a:solidFill>
          <a:latin typeface="Arial Narrow" pitchFamily="34" charset="0"/>
          <a:cs typeface="+mn-cs"/>
        </a:defRPr>
      </a:lvl4pPr>
      <a:lvl5pPr marL="2057564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5pPr>
      <a:lvl6pPr marL="2472244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6pPr>
      <a:lvl7pPr marL="2886925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7pPr>
      <a:lvl8pPr marL="3301605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8pPr>
      <a:lvl9pPr marL="3716286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8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6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04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72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40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08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76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44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2" y="1380815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537" b="1" dirty="0">
              <a:solidFill>
                <a:srgbClr val="000066"/>
              </a:solidFill>
            </a:endParaRPr>
          </a:p>
        </p:txBody>
      </p:sp>
      <p:sp>
        <p:nvSpPr>
          <p:cNvPr id="7180" name="Rectangle 12"/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rtl="1" fontAlgn="base">
              <a:spcBef>
                <a:spcPct val="0"/>
              </a:spcBef>
              <a:spcAft>
                <a:spcPct val="0"/>
              </a:spcAft>
            </a:pPr>
            <a:endParaRPr lang="en-GB" sz="3537" b="1" dirty="0">
              <a:solidFill>
                <a:srgbClr val="000066"/>
              </a:solidFill>
            </a:endParaRPr>
          </a:p>
        </p:txBody>
      </p:sp>
      <p:sp>
        <p:nvSpPr>
          <p:cNvPr id="7181" name="Rectangle 13"/>
          <p:cNvSpPr>
            <a:spLocks noChangeArrowheads="1"/>
          </p:cNvSpPr>
          <p:nvPr/>
        </p:nvSpPr>
        <p:spPr bwMode="auto">
          <a:xfrm>
            <a:off x="1236215" y="6426045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70" b="1" dirty="0" smtClean="0">
                <a:solidFill>
                  <a:srgbClr val="96CCEE"/>
                </a:solidFill>
                <a:latin typeface="Arial Narrow" pitchFamily="34" charset="0"/>
              </a:rPr>
              <a:t>TIMB</a:t>
            </a:r>
            <a:endParaRPr lang="en-GB" altLang="en-US" sz="1270" b="1" dirty="0">
              <a:solidFill>
                <a:srgbClr val="96CCEE"/>
              </a:solidFill>
              <a:latin typeface="Arial Narrow" pitchFamily="34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479645" y="6398688"/>
            <a:ext cx="474214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2732A46-4ECE-43B5-AF18-E7F7E9D993B2}" type="slidenum">
              <a:rPr lang="ar-SA" altLang="en-US" sz="1542" b="1">
                <a:solidFill>
                  <a:srgbClr val="72BBE8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en-US" sz="1542" b="1" dirty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altLang="en-US" sz="2177" b="1" baseline="14000" dirty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8" y="6040166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3086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iming>
    <p:tnLst>
      <p:par>
        <p:cTn id="1" dur="indefinite" restart="never" nodeType="tmRoot"/>
      </p:par>
    </p:tnLst>
  </p:timing>
  <p:txStyles>
    <p:titleStyle>
      <a:lvl1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2pPr>
      <a:lvl3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3pPr>
      <a:lvl4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4pPr>
      <a:lvl5pPr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5pPr>
      <a:lvl6pPr marL="414680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6pPr>
      <a:lvl7pPr marL="829361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7pPr>
      <a:lvl8pPr marL="1244041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8pPr>
      <a:lvl9pPr marL="1658722" algn="ctr" defTabSz="945990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54206" indent="-354206" algn="l" defTabSz="945990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540">
          <a:solidFill>
            <a:srgbClr val="000066"/>
          </a:solidFill>
          <a:latin typeface="+mn-lt"/>
          <a:ea typeface="+mn-ea"/>
          <a:cs typeface="+mn-cs"/>
        </a:defRPr>
      </a:lvl1pPr>
      <a:lvl2pPr marL="833681" indent="-292293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77">
          <a:solidFill>
            <a:srgbClr val="000066"/>
          </a:solidFill>
          <a:latin typeface="+mn-lt"/>
          <a:cs typeface="+mn-cs"/>
        </a:defRPr>
      </a:lvl2pPr>
      <a:lvl3pPr marL="1300196" indent="-279333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177">
          <a:solidFill>
            <a:srgbClr val="000066"/>
          </a:solidFill>
          <a:latin typeface="Arial Narrow" pitchFamily="34" charset="0"/>
          <a:cs typeface="+mn-cs"/>
        </a:defRPr>
      </a:lvl3pPr>
      <a:lvl4pPr marL="1722076" indent="-234698" algn="l" defTabSz="945990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177">
          <a:solidFill>
            <a:srgbClr val="000066"/>
          </a:solidFill>
          <a:latin typeface="Arial Narrow" pitchFamily="34" charset="0"/>
          <a:cs typeface="+mn-cs"/>
        </a:defRPr>
      </a:lvl4pPr>
      <a:lvl5pPr marL="2057564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5pPr>
      <a:lvl6pPr marL="2472244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6pPr>
      <a:lvl7pPr marL="2886925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7pPr>
      <a:lvl8pPr marL="3301605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8pPr>
      <a:lvl9pPr marL="3716286" indent="-149746" algn="r" defTabSz="945990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8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6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04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72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40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08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76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44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342900">
              <a:defRPr sz="9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cs typeface="Arial" charset="0"/>
              </a:rPr>
              <a:t>Note:  Gavi requirements of $122.2 million are not included in this slide</a:t>
            </a:r>
            <a:endParaRPr lang="en-US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342900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261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</p:sldLayoutIdLst>
  <p:hf hd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342900">
              <a:defRPr sz="900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cs typeface="Arial" charset="0"/>
                <a:sym typeface="Arial"/>
                <a:rtl val="0"/>
              </a:rPr>
              <a:t>Note:  Gavi requirements of $122.2 million are not included in this slide</a:t>
            </a:r>
            <a:endParaRPr lang="en-US" dirty="0">
              <a:cs typeface="Arial" charset="0"/>
              <a:sym typeface="Arial"/>
              <a:rtl val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342900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>
                <a:sym typeface="Arial"/>
                <a:rtl val="0"/>
              </a:rPr>
              <a:pPr>
                <a:defRPr/>
              </a:pPr>
              <a:t>‹#›</a:t>
            </a:fld>
            <a:endParaRPr lang="en-US" dirty="0"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537663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</p:sldLayoutIdLst>
  <p:hf hd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69533" y="2065867"/>
            <a:ext cx="8070883" cy="169352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GB" sz="6000" b="1" dirty="0" smtClean="0">
                <a:cs typeface="Arial" panose="020B0604020202020204" pitchFamily="34" charset="0"/>
              </a:rPr>
              <a:t>Polio Transition Planning: </a:t>
            </a:r>
            <a:r>
              <a:rPr lang="en-GB" sz="6000" b="1" dirty="0" smtClean="0">
                <a:solidFill>
                  <a:srgbClr val="0070C0"/>
                </a:solidFill>
                <a:cs typeface="Arial" panose="020B0604020202020204" pitchFamily="34" charset="0"/>
              </a:rPr>
              <a:t/>
            </a:r>
            <a:br>
              <a:rPr lang="en-GB" sz="6000" b="1" dirty="0" smtClean="0">
                <a:solidFill>
                  <a:srgbClr val="0070C0"/>
                </a:solidFill>
                <a:cs typeface="Arial" panose="020B0604020202020204" pitchFamily="34" charset="0"/>
              </a:rPr>
            </a:br>
            <a:r>
              <a:rPr lang="en-GB" sz="6000" b="1" dirty="0" smtClean="0">
                <a:solidFill>
                  <a:srgbClr val="0070C0"/>
                </a:solidFill>
                <a:cs typeface="Arial" panose="020B0604020202020204" pitchFamily="34" charset="0"/>
              </a:rPr>
              <a:t/>
            </a:r>
            <a:br>
              <a:rPr lang="en-GB" sz="6000" b="1" dirty="0" smtClean="0">
                <a:solidFill>
                  <a:srgbClr val="0070C0"/>
                </a:solidFill>
                <a:cs typeface="Arial" panose="020B0604020202020204" pitchFamily="34" charset="0"/>
              </a:rPr>
            </a:br>
            <a:r>
              <a:rPr lang="en-GB" sz="4400" b="1" dirty="0" smtClean="0">
                <a:solidFill>
                  <a:srgbClr val="990033"/>
                </a:solidFill>
                <a:cs typeface="Arial" panose="020B0604020202020204" pitchFamily="34" charset="0"/>
              </a:rPr>
              <a:t>Risks and opportunities of transitioning polio resources to support Measles-Rubella Elimination</a:t>
            </a:r>
            <a:r>
              <a:rPr lang="en-GB" sz="4400" b="1" dirty="0">
                <a:solidFill>
                  <a:srgbClr val="990033"/>
                </a:solidFill>
                <a:cs typeface="Arial" panose="020B0604020202020204" pitchFamily="34" charset="0"/>
              </a:rPr>
              <a:t/>
            </a:r>
            <a:br>
              <a:rPr lang="en-GB" sz="4400" b="1" dirty="0">
                <a:solidFill>
                  <a:srgbClr val="990033"/>
                </a:solidFill>
                <a:cs typeface="Arial" panose="020B0604020202020204" pitchFamily="34" charset="0"/>
              </a:rPr>
            </a:br>
            <a:endParaRPr lang="en-US" sz="4000" b="1" dirty="0">
              <a:solidFill>
                <a:srgbClr val="990033"/>
              </a:solidFill>
              <a:cs typeface="Arial" panose="020B060402020202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69533" y="5249333"/>
            <a:ext cx="8070883" cy="1118867"/>
          </a:xfrm>
        </p:spPr>
        <p:txBody>
          <a:bodyPr>
            <a:noAutofit/>
          </a:bodyPr>
          <a:lstStyle/>
          <a:p>
            <a:pPr eaLnBrk="1" hangingPunct="1"/>
            <a:r>
              <a:rPr lang="en-GB" sz="32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Measles &amp; Rubella Initiative Partners meeting</a:t>
            </a:r>
            <a:endParaRPr lang="en-GB" sz="3200" b="1" dirty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/>
            <a:r>
              <a:rPr lang="en-GB" sz="32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September 7-8, </a:t>
            </a:r>
            <a:r>
              <a:rPr lang="en-GB" sz="32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2017</a:t>
            </a:r>
            <a:endParaRPr lang="en-US" sz="3200" b="1" dirty="0">
              <a:solidFill>
                <a:srgbClr val="000066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5004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7600" y="863600"/>
            <a:ext cx="9448800" cy="614938"/>
          </a:xfrm>
        </p:spPr>
        <p:txBody>
          <a:bodyPr/>
          <a:lstStyle/>
          <a:p>
            <a: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EI Lessons Learned That Can Be Applied</a:t>
            </a:r>
            <a:b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easles-Rubella Elimin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2933" y="2294467"/>
            <a:ext cx="9652000" cy="3438789"/>
          </a:xfrm>
        </p:spPr>
        <p:txBody>
          <a:bodyPr/>
          <a:lstStyle/>
          <a:p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a targeted disease initiative for broader health communication</a:t>
            </a:r>
          </a:p>
          <a:p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of advanced state-of-the-art global lab network and real-time disease surveillance</a:t>
            </a:r>
          </a:p>
          <a:p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 with reaching every child</a:t>
            </a:r>
          </a:p>
          <a:p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tanding program monitoring and use of accountability frameworks for performance assessment</a:t>
            </a:r>
          </a:p>
          <a:p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hip coordination, advocacy, resource mobilization</a:t>
            </a:r>
          </a:p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04645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7989" y="156105"/>
            <a:ext cx="8608611" cy="1081031"/>
          </a:xfrm>
        </p:spPr>
        <p:txBody>
          <a:bodyPr/>
          <a:lstStyle/>
          <a:p>
            <a:r>
              <a:rPr lang="en-US" sz="4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o-Funded Surveillance Officer Responsibilities</a:t>
            </a:r>
            <a:endParaRPr lang="en-US" sz="4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638" y="1862666"/>
            <a:ext cx="2477964" cy="4525963"/>
          </a:xfrm>
        </p:spPr>
      </p:pic>
      <p:sp>
        <p:nvSpPr>
          <p:cNvPr id="5" name="TextBox 4"/>
          <p:cNvSpPr txBox="1"/>
          <p:nvPr/>
        </p:nvSpPr>
        <p:spPr>
          <a:xfrm>
            <a:off x="5902275" y="1451368"/>
            <a:ext cx="744185" cy="31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1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li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7989" y="2499513"/>
            <a:ext cx="360918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ther VPD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asles/Rubell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ellow Fever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onatal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tanu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ningiti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ute encephalitis syndrome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phtheri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oler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tussi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and so 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38916" y="3730363"/>
            <a:ext cx="785372" cy="538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1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ther VPDs</a:t>
            </a:r>
          </a:p>
        </p:txBody>
      </p:sp>
      <p:sp>
        <p:nvSpPr>
          <p:cNvPr id="3" name="Rectangle 2"/>
          <p:cNvSpPr/>
          <p:nvPr/>
        </p:nvSpPr>
        <p:spPr>
          <a:xfrm>
            <a:off x="6524288" y="2691744"/>
            <a:ext cx="480060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ther Communicable Disease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loody diarrhea 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glecte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opical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seas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ngue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ral hemorrhagic feve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bie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lari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so on</a:t>
            </a:r>
          </a:p>
        </p:txBody>
      </p:sp>
    </p:spTree>
    <p:extLst>
      <p:ext uri="{BB962C8B-B14F-4D97-AF65-F5344CB8AC3E}">
        <p14:creationId xmlns:p14="http://schemas.microsoft.com/office/powerpoint/2010/main" val="350488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7CAD2-A3BF-4ED8-98C0-729666A7D8A5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7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9452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sz="2000" b="1" dirty="0"/>
          </a:p>
          <a:p>
            <a:endParaRPr lang="en-GB" sz="20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21211" y="252990"/>
            <a:ext cx="10533553" cy="998069"/>
          </a:xfrm>
        </p:spPr>
        <p:txBody>
          <a:bodyPr/>
          <a:lstStyle/>
          <a:p>
            <a:pPr algn="ctr"/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Health Emergency and IHR Capacity: </a:t>
            </a:r>
            <a:r>
              <a:rPr lang="en-GB" sz="32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on the </a:t>
            </a:r>
            <a:r>
              <a:rPr lang="en-GB" sz="32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32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o/MR </a:t>
            </a:r>
            <a:r>
              <a:rPr lang="en-GB" sz="32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 and Surveillance Network </a:t>
            </a:r>
            <a:r>
              <a:rPr lang="en-GB" altLang="en-US" sz="3200" dirty="0">
                <a:latin typeface="Arial" panose="020B0604020202020204" pitchFamily="34" charset="0"/>
                <a:cs typeface="Arial" panose="020B0604020202020204" pitchFamily="34" charset="0"/>
              </a:rPr>
              <a:t>(&gt;700 labs)</a:t>
            </a:r>
            <a:endParaRPr lang="en-GB" sz="3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1"/>
          <p:cNvSpPr txBox="1">
            <a:spLocks/>
          </p:cNvSpPr>
          <p:nvPr/>
        </p:nvSpPr>
        <p:spPr>
          <a:xfrm>
            <a:off x="1524000" y="6604000"/>
            <a:ext cx="1777512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5DEE5B-CA4F-486D-A403-B2C7C42F572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63552" y="1412776"/>
            <a:ext cx="78488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418" y="1511599"/>
            <a:ext cx="7975007" cy="4930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295864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9467" y="423333"/>
            <a:ext cx="9389533" cy="719667"/>
          </a:xfrm>
          <a:prstGeom prst="rect">
            <a:avLst/>
          </a:prstGeom>
        </p:spPr>
        <p:txBody>
          <a:bodyPr/>
          <a:lstStyle/>
          <a:p>
            <a:r>
              <a:rPr lang="en-US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source Dependence of MR on Polio</a:t>
            </a:r>
            <a:endParaRPr 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625600" y="1585384"/>
            <a:ext cx="8483600" cy="4651375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>
                <a:solidFill>
                  <a:srgbClr val="C00000"/>
                </a:solidFill>
              </a:rPr>
              <a:t> Financial</a:t>
            </a:r>
          </a:p>
          <a:p>
            <a:pPr lvl="1"/>
            <a:r>
              <a:rPr lang="en-US" sz="2400" dirty="0"/>
              <a:t>Polio FRR:  surveillance/lab costs $102 million, excluding technical support like NPSP (2016)</a:t>
            </a:r>
          </a:p>
          <a:p>
            <a:pPr lvl="1"/>
            <a:r>
              <a:rPr lang="en-US" sz="2400" dirty="0"/>
              <a:t>$111 million annually needed for MR surveillance to be maintained at status quo (excluding operational costs at </a:t>
            </a:r>
            <a:r>
              <a:rPr lang="en-US" sz="2400" dirty="0" smtClean="0"/>
              <a:t>country level)</a:t>
            </a:r>
            <a:endParaRPr lang="en-US" sz="2400" dirty="0"/>
          </a:p>
          <a:p>
            <a:pPr lvl="2"/>
            <a:r>
              <a:rPr lang="en-US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77 million </a:t>
            </a:r>
            <a:r>
              <a:rPr lang="en-US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70%) </a:t>
            </a:r>
            <a:r>
              <a:rPr lang="en-US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ng from polio $$</a:t>
            </a:r>
          </a:p>
          <a:p>
            <a:r>
              <a:rPr lang="en-US" sz="3200" b="1" dirty="0" smtClean="0">
                <a:solidFill>
                  <a:srgbClr val="C00000"/>
                </a:solidFill>
              </a:rPr>
              <a:t>Human</a:t>
            </a:r>
            <a:r>
              <a:rPr lang="en-US" sz="3200" dirty="0" smtClean="0"/>
              <a:t> </a:t>
            </a:r>
            <a:endParaRPr lang="en-US" sz="3200" dirty="0"/>
          </a:p>
          <a:p>
            <a:pPr lvl="1"/>
            <a:r>
              <a:rPr lang="en-US" sz="2400" dirty="0"/>
              <a:t>Over 2500 polio-funded staff are supporting MR surveillance </a:t>
            </a:r>
          </a:p>
        </p:txBody>
      </p:sp>
    </p:spTree>
    <p:extLst>
      <p:ext uri="{BB962C8B-B14F-4D97-AF65-F5344CB8AC3E}">
        <p14:creationId xmlns:p14="http://schemas.microsoft.com/office/powerpoint/2010/main" val="228848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177799" y="186266"/>
            <a:ext cx="9635067" cy="838201"/>
          </a:xfrm>
          <a:prstGeom prst="rect">
            <a:avLst/>
          </a:prstGeom>
        </p:spPr>
        <p:txBody>
          <a:bodyPr/>
          <a:lstStyle/>
          <a:p>
            <a:r>
              <a:rPr lang="en-US" sz="3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Messages– Polio/MR/VPD Surveillance</a:t>
            </a:r>
            <a:endParaRPr lang="en-US" sz="3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321733" y="1312334"/>
            <a:ext cx="11328400" cy="4698999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513"/>
              </a:spcBef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olio is the foundation for much of VPD surveillance in many developing countries</a:t>
            </a:r>
          </a:p>
          <a:p>
            <a:pPr>
              <a:spcBef>
                <a:spcPts val="513"/>
              </a:spcBef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olio funds a significant amount of the VPD surveillance -- human resources and infrastructure</a:t>
            </a:r>
          </a:p>
          <a:p>
            <a:pPr lvl="1">
              <a:spcBef>
                <a:spcPts val="513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ven with polio support, insufficient to achieve various global/regional goals</a:t>
            </a:r>
          </a:p>
          <a:p>
            <a:pPr>
              <a:spcBef>
                <a:spcPts val="513"/>
              </a:spcBef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areful planning and consideration needs to be undertaken to ensure all the gains in VPD surveillance are not destroyed during polio transition</a:t>
            </a:r>
          </a:p>
          <a:p>
            <a:pPr>
              <a:spcBef>
                <a:spcPts val="513"/>
              </a:spcBef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olio needs VPD surveillance as much as </a:t>
            </a:r>
          </a:p>
          <a:p>
            <a:pPr marL="0" indent="0">
              <a:spcBef>
                <a:spcPts val="513"/>
              </a:spcBef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	VPD surveillance needs polio</a:t>
            </a:r>
          </a:p>
          <a:p>
            <a:pPr marL="0" indent="0">
              <a:spcBef>
                <a:spcPts val="513"/>
              </a:spcBef>
              <a:buNone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050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7133" y="188640"/>
            <a:ext cx="9406467" cy="759627"/>
          </a:xfrm>
        </p:spPr>
        <p:txBody>
          <a:bodyPr/>
          <a:lstStyle/>
          <a:p>
            <a:pPr algn="ctr"/>
            <a:r>
              <a:rPr lang="en-US" sz="4400" dirty="0" smtClean="0">
                <a:cs typeface="Arial" panose="020B0604020202020204" pitchFamily="34" charset="0"/>
              </a:rPr>
              <a:t>Underlying premise:</a:t>
            </a:r>
            <a:br>
              <a:rPr lang="en-US" sz="4400" dirty="0" smtClean="0">
                <a:cs typeface="Arial" panose="020B0604020202020204" pitchFamily="34" charset="0"/>
              </a:rPr>
            </a:b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on to other health goals </a:t>
            </a:r>
            <a:r>
              <a:rPr 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--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opportunity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7CAD2-A3BF-4ED8-98C0-729666A7D8A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53533" y="2243668"/>
            <a:ext cx="10440421" cy="3479800"/>
          </a:xfrm>
        </p:spPr>
        <p:txBody>
          <a:bodyPr/>
          <a:lstStyle/>
          <a:p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here is a </a:t>
            </a:r>
            <a:r>
              <a:rPr lang="en-GB" sz="2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to other health goals (such as Measles-Rubella) when GPEI funding stops, as the polio infrastructure is already helping to support other health programmes </a:t>
            </a:r>
          </a:p>
          <a:p>
            <a:endParaRPr lang="en-GB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here is an </a:t>
            </a:r>
            <a:r>
              <a:rPr lang="en-GB" sz="2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for current GPEI staff, assets and knowledge to further contribute to other health goals</a:t>
            </a:r>
          </a:p>
          <a:p>
            <a:endParaRPr lang="en-GB" sz="2800" dirty="0" smtClean="0"/>
          </a:p>
          <a:p>
            <a:endParaRPr lang="en-GB" sz="2800" dirty="0" smtClean="0"/>
          </a:p>
          <a:p>
            <a:endParaRPr lang="en-GB" sz="2800" dirty="0" smtClean="0"/>
          </a:p>
        </p:txBody>
      </p:sp>
      <p:sp>
        <p:nvSpPr>
          <p:cNvPr id="7" name="Slide Number Placeholder 1"/>
          <p:cNvSpPr txBox="1">
            <a:spLocks/>
          </p:cNvSpPr>
          <p:nvPr/>
        </p:nvSpPr>
        <p:spPr>
          <a:xfrm>
            <a:off x="1524000" y="6604000"/>
            <a:ext cx="1777512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A5DEE5B-CA4F-486D-A403-B2C7C42F572B}" type="slidenum">
              <a:rPr lang="en-US" altLang="en-US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749515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>
                <a:solidFill>
                  <a:srgbClr val="000000"/>
                </a:solidFill>
                <a:latin typeface="Calibri"/>
              </a:rPr>
              <a:pPr/>
              <a:t>3</a:t>
            </a:fld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93801" y="795866"/>
            <a:ext cx="9169400" cy="914400"/>
          </a:xfrm>
        </p:spPr>
        <p:txBody>
          <a:bodyPr/>
          <a:lstStyle/>
          <a:p>
            <a:r>
              <a:rPr lang="en-GB" sz="3600" b="1" dirty="0">
                <a:latin typeface="Arial" panose="020B0604020202020204" pitchFamily="34" charset="0"/>
                <a:cs typeface="Arial" panose="020B0604020202020204" pitchFamily="34" charset="0"/>
              </a:rPr>
              <a:t>Measles &amp; Rubella Global Strategic Plan </a:t>
            </a:r>
            <a:r>
              <a:rPr lang="en-GB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dterm </a:t>
            </a:r>
            <a:r>
              <a:rPr lang="en-GB" sz="3600" b="1" dirty="0">
                <a:latin typeface="Arial" panose="020B0604020202020204" pitchFamily="34" charset="0"/>
                <a:cs typeface="Arial" panose="020B0604020202020204" pitchFamily="34" charset="0"/>
              </a:rPr>
              <a:t>Review (2016)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260599" y="2692400"/>
            <a:ext cx="7103533" cy="2559768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All stakeholders involved in </a:t>
            </a:r>
            <a:r>
              <a:rPr lang="en-US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and elimination of measles and rubella as well as those involved in immunization system strengthening</a:t>
            </a:r>
            <a:r>
              <a:rPr lang="en-US" sz="2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engage in polio transition planning (at all levels) to leverage the opportunity and avoid the risks of the end of the GPEI”</a:t>
            </a:r>
          </a:p>
        </p:txBody>
      </p:sp>
    </p:spTree>
    <p:extLst>
      <p:ext uri="{BB962C8B-B14F-4D97-AF65-F5344CB8AC3E}">
        <p14:creationId xmlns:p14="http://schemas.microsoft.com/office/powerpoint/2010/main" val="1549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8595207" cy="1460500"/>
          </a:xfrm>
        </p:spPr>
        <p:txBody>
          <a:bodyPr/>
          <a:lstStyle/>
          <a:p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Obvious Candidates for </a:t>
            </a:r>
            <a:b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oning of Polio </a:t>
            </a:r>
            <a:r>
              <a:rPr 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*</a:t>
            </a:r>
            <a:endParaRPr lang="en-US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sz="3733" dirty="0">
                <a:latin typeface="Arial" panose="020B0604020202020204" pitchFamily="34" charset="0"/>
                <a:cs typeface="Arial" panose="020B0604020202020204" pitchFamily="34" charset="0"/>
              </a:rPr>
              <a:t>Measles and rubella elimination</a:t>
            </a:r>
          </a:p>
          <a:p>
            <a:r>
              <a:rPr lang="en-US" sz="3733" dirty="0">
                <a:latin typeface="Arial" panose="020B0604020202020204" pitchFamily="34" charset="0"/>
                <a:cs typeface="Arial" panose="020B0604020202020204" pitchFamily="34" charset="0"/>
              </a:rPr>
              <a:t>Immunization system </a:t>
            </a:r>
            <a:r>
              <a:rPr lang="en-US" sz="3733" dirty="0" smtClean="0">
                <a:latin typeface="Arial" panose="020B0604020202020204" pitchFamily="34" charset="0"/>
                <a:cs typeface="Arial" panose="020B0604020202020204" pitchFamily="34" charset="0"/>
              </a:rPr>
              <a:t>strengthening</a:t>
            </a:r>
          </a:p>
          <a:p>
            <a:r>
              <a:rPr lang="en-US" sz="373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ccine preventable-communicable disease  surveillance &amp; lab </a:t>
            </a:r>
            <a:r>
              <a:rPr lang="en-US" sz="3733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</a:p>
          <a:p>
            <a:endParaRPr lang="en-US" sz="3733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buNone/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adapted from WHO draft report on Polio Transition Planning </a:t>
            </a:r>
          </a:p>
          <a:p>
            <a:pPr marL="0" lvl="0" indent="0">
              <a:buNone/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to the 70</a:t>
            </a:r>
            <a:r>
              <a:rPr lang="en-US" sz="2000" b="1" baseline="30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A, April 2017</a:t>
            </a:r>
          </a:p>
          <a:p>
            <a:endParaRPr lang="en-US" sz="3733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7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638053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18" name="Shape 4218" descr="https://www.anintegratedworld.com/wp-content/uploads/2015/04/target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944364" y="1816577"/>
            <a:ext cx="1371600" cy="1545600"/>
          </a:xfrm>
          <a:prstGeom prst="rect">
            <a:avLst/>
          </a:prstGeom>
          <a:noFill/>
          <a:ln>
            <a:noFill/>
          </a:ln>
        </p:spPr>
      </p:pic>
      <p:sp>
        <p:nvSpPr>
          <p:cNvPr id="4219" name="Shape 4219"/>
          <p:cNvSpPr/>
          <p:nvPr/>
        </p:nvSpPr>
        <p:spPr>
          <a:xfrm rot="1183240">
            <a:off x="5360759" y="232039"/>
            <a:ext cx="3598028" cy="176556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flat" cmpd="sng">
            <a:solidFill>
              <a:srgbClr val="42719B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220" name="Shape 4220"/>
          <p:cNvSpPr txBox="1"/>
          <p:nvPr/>
        </p:nvSpPr>
        <p:spPr>
          <a:xfrm>
            <a:off x="7918038" y="649696"/>
            <a:ext cx="2806199" cy="1015622"/>
          </a:xfrm>
          <a:prstGeom prst="rect">
            <a:avLst/>
          </a:prstGeom>
          <a:solidFill>
            <a:schemeClr val="accent5"/>
          </a:solidFill>
          <a:ln w="12700" cap="flat" cmpd="sng">
            <a:solidFill>
              <a:srgbClr val="31538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GV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measles and rubella elimination targets </a:t>
            </a:r>
          </a:p>
        </p:txBody>
      </p:sp>
      <p:pic>
        <p:nvPicPr>
          <p:cNvPr id="4221" name="Shape 4221" descr="https://www.anintegratedworld.com/wp-content/uploads/2015/04/target.jp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545946" y="3825472"/>
            <a:ext cx="1371600" cy="1371600"/>
          </a:xfrm>
          <a:prstGeom prst="rect">
            <a:avLst/>
          </a:prstGeom>
          <a:noFill/>
          <a:ln>
            <a:noFill/>
          </a:ln>
        </p:spPr>
      </p:pic>
      <p:sp>
        <p:nvSpPr>
          <p:cNvPr id="4222" name="Shape 4222"/>
          <p:cNvSpPr/>
          <p:nvPr/>
        </p:nvSpPr>
        <p:spPr>
          <a:xfrm rot="-9520327">
            <a:off x="3599385" y="4883414"/>
            <a:ext cx="3484970" cy="159449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flat" cmpd="sng">
            <a:solidFill>
              <a:srgbClr val="42719B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223" name="Shape 4223"/>
          <p:cNvSpPr txBox="1"/>
          <p:nvPr/>
        </p:nvSpPr>
        <p:spPr>
          <a:xfrm>
            <a:off x="2171084" y="5126618"/>
            <a:ext cx="3232199" cy="1569620"/>
          </a:xfrm>
          <a:prstGeom prst="rect">
            <a:avLst/>
          </a:prstGeom>
          <a:solidFill>
            <a:schemeClr val="accent5"/>
          </a:solidFill>
          <a:ln w="12700" cap="flat" cmpd="sng">
            <a:solidFill>
              <a:srgbClr val="31538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GV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national and subnational vaccination coverage targets</a:t>
            </a:r>
          </a:p>
        </p:txBody>
      </p:sp>
      <p:sp>
        <p:nvSpPr>
          <p:cNvPr id="4224" name="Shape 4224"/>
          <p:cNvSpPr txBox="1"/>
          <p:nvPr/>
        </p:nvSpPr>
        <p:spPr>
          <a:xfrm>
            <a:off x="7114183" y="5647292"/>
            <a:ext cx="5031961" cy="1384954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ulim"/>
                <a:ea typeface="Gulim"/>
                <a:cs typeface="Gulim"/>
                <a:sym typeface="Gulim"/>
              </a:rPr>
              <a:t>Orenstein W.A. &amp;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ulim"/>
                <a:ea typeface="Gulim"/>
                <a:cs typeface="Gulim"/>
                <a:sym typeface="Gulim"/>
              </a:rPr>
              <a:t>Seib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ulim"/>
                <a:ea typeface="Gulim"/>
                <a:cs typeface="Gulim"/>
                <a:sym typeface="Gulim"/>
              </a:rPr>
              <a:t> K (2016) Beyond vertical and horizontal programs: a diagonal approach to building national immunization programs through measles elimination, Expert Review of Vaccines, 15:7, 791-79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ulim"/>
                <a:ea typeface="Gulim"/>
                <a:cs typeface="Gulim"/>
                <a:sym typeface="Gulim"/>
              </a:rPr>
              <a:t>Sepúlveda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ulim"/>
                <a:ea typeface="Gulim"/>
                <a:cs typeface="Gulim"/>
                <a:sym typeface="Gulim"/>
              </a:rPr>
              <a:t> J et al. Improvement of child survival in Mexico: the diagonal approach. Lancet 2006; 368: 2017–27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ulim"/>
              <a:ea typeface="Gulim"/>
              <a:cs typeface="Gulim"/>
              <a:sym typeface="Gulim"/>
            </a:endParaRPr>
          </a:p>
        </p:txBody>
      </p:sp>
      <p:pic>
        <p:nvPicPr>
          <p:cNvPr id="4225" name="Shape 422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1175725">
            <a:off x="4162582" y="1403268"/>
            <a:ext cx="4473484" cy="4155424"/>
          </a:xfrm>
          <a:prstGeom prst="rect">
            <a:avLst/>
          </a:prstGeom>
          <a:noFill/>
          <a:ln>
            <a:noFill/>
          </a:ln>
        </p:spPr>
      </p:pic>
      <p:sp>
        <p:nvSpPr>
          <p:cNvPr id="4226" name="Shape 4226"/>
          <p:cNvSpPr txBox="1"/>
          <p:nvPr/>
        </p:nvSpPr>
        <p:spPr>
          <a:xfrm>
            <a:off x="1253067" y="234777"/>
            <a:ext cx="4225573" cy="1631175"/>
          </a:xfrm>
          <a:prstGeom prst="rect">
            <a:avLst/>
          </a:prstGeom>
          <a:solidFill>
            <a:schemeClr val="accent2">
              <a:alpha val="38000"/>
            </a:schemeClr>
          </a:solidFill>
          <a:ln w="12700" cap="flat" cmpd="sng">
            <a:solidFill>
              <a:srgbClr val="AC5B23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KEY STEP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 to build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immunizati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program capacity is to strategically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link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1. </a:t>
            </a:r>
            <a:r>
              <a:rPr kumimoji="0" lang="en-US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disease-specific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effor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2. </a:t>
            </a:r>
            <a:r>
              <a:rPr kumimoji="0" lang="en-US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health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system strengthening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efforts 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3B818E-4B60-4BA8-A6BC-C8542B4A04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1665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B8F7D12-62DE-453E-A7D6-231232E39030}" type="slidenum">
              <a:rPr lang="en-US" sz="1400" kern="0"/>
              <a:pPr>
                <a:defRPr/>
              </a:pPr>
              <a:t>6</a:t>
            </a:fld>
            <a:endParaRPr lang="en-US" sz="1400" kern="0" dirty="0"/>
          </a:p>
        </p:txBody>
      </p:sp>
      <p:sp>
        <p:nvSpPr>
          <p:cNvPr id="155" name="Freeform 154"/>
          <p:cNvSpPr>
            <a:spLocks/>
          </p:cNvSpPr>
          <p:nvPr/>
        </p:nvSpPr>
        <p:spPr bwMode="auto">
          <a:xfrm>
            <a:off x="7556341" y="1583195"/>
            <a:ext cx="2741401" cy="1763973"/>
          </a:xfrm>
          <a:custGeom>
            <a:avLst/>
            <a:gdLst>
              <a:gd name="T0" fmla="*/ 76292 w 1664"/>
              <a:gd name="T1" fmla="*/ 34958 h 1071"/>
              <a:gd name="T2" fmla="*/ 92980 w 1664"/>
              <a:gd name="T3" fmla="*/ 50847 h 1071"/>
              <a:gd name="T4" fmla="*/ 123974 w 1664"/>
              <a:gd name="T5" fmla="*/ 79449 h 1071"/>
              <a:gd name="T6" fmla="*/ 169272 w 1664"/>
              <a:gd name="T7" fmla="*/ 88983 h 1071"/>
              <a:gd name="T8" fmla="*/ 207418 w 1664"/>
              <a:gd name="T9" fmla="*/ 73093 h 1071"/>
              <a:gd name="T10" fmla="*/ 217749 w 1664"/>
              <a:gd name="T11" fmla="*/ 66737 h 1071"/>
              <a:gd name="T12" fmla="*/ 247948 w 1664"/>
              <a:gd name="T13" fmla="*/ 54025 h 1071"/>
              <a:gd name="T14" fmla="*/ 234438 w 1664"/>
              <a:gd name="T15" fmla="*/ 47669 h 1071"/>
              <a:gd name="T16" fmla="*/ 231259 w 1664"/>
              <a:gd name="T17" fmla="*/ 28602 h 1071"/>
              <a:gd name="T18" fmla="*/ 251921 w 1664"/>
              <a:gd name="T19" fmla="*/ 15890 h 1071"/>
              <a:gd name="T20" fmla="*/ 251921 w 1664"/>
              <a:gd name="T21" fmla="*/ 9534 h 1071"/>
              <a:gd name="T22" fmla="*/ 278941 w 1664"/>
              <a:gd name="T23" fmla="*/ 3178 h 1071"/>
              <a:gd name="T24" fmla="*/ 299604 w 1664"/>
              <a:gd name="T25" fmla="*/ 31780 h 1071"/>
              <a:gd name="T26" fmla="*/ 317087 w 1664"/>
              <a:gd name="T27" fmla="*/ 44491 h 1071"/>
              <a:gd name="T28" fmla="*/ 321061 w 1664"/>
              <a:gd name="T29" fmla="*/ 66737 h 1071"/>
              <a:gd name="T30" fmla="*/ 313908 w 1664"/>
              <a:gd name="T31" fmla="*/ 76271 h 1071"/>
              <a:gd name="T32" fmla="*/ 299604 w 1664"/>
              <a:gd name="T33" fmla="*/ 85805 h 1071"/>
              <a:gd name="T34" fmla="*/ 289272 w 1664"/>
              <a:gd name="T35" fmla="*/ 88983 h 1071"/>
              <a:gd name="T36" fmla="*/ 268610 w 1664"/>
              <a:gd name="T37" fmla="*/ 101695 h 1071"/>
              <a:gd name="T38" fmla="*/ 258279 w 1664"/>
              <a:gd name="T39" fmla="*/ 101695 h 1071"/>
              <a:gd name="T40" fmla="*/ 247948 w 1664"/>
              <a:gd name="T41" fmla="*/ 101695 h 1071"/>
              <a:gd name="T42" fmla="*/ 238411 w 1664"/>
              <a:gd name="T43" fmla="*/ 108051 h 1071"/>
              <a:gd name="T44" fmla="*/ 265431 w 1664"/>
              <a:gd name="T45" fmla="*/ 117585 h 1071"/>
              <a:gd name="T46" fmla="*/ 255100 w 1664"/>
              <a:gd name="T47" fmla="*/ 120763 h 1071"/>
              <a:gd name="T48" fmla="*/ 255100 w 1664"/>
              <a:gd name="T49" fmla="*/ 146186 h 1071"/>
              <a:gd name="T50" fmla="*/ 262252 w 1664"/>
              <a:gd name="T51" fmla="*/ 155720 h 1071"/>
              <a:gd name="T52" fmla="*/ 258279 w 1664"/>
              <a:gd name="T53" fmla="*/ 171610 h 1071"/>
              <a:gd name="T54" fmla="*/ 247948 w 1664"/>
              <a:gd name="T55" fmla="*/ 184322 h 1071"/>
              <a:gd name="T56" fmla="*/ 241590 w 1664"/>
              <a:gd name="T57" fmla="*/ 193856 h 1071"/>
              <a:gd name="T58" fmla="*/ 220928 w 1664"/>
              <a:gd name="T59" fmla="*/ 203390 h 1071"/>
              <a:gd name="T60" fmla="*/ 213775 w 1664"/>
              <a:gd name="T61" fmla="*/ 203390 h 1071"/>
              <a:gd name="T62" fmla="*/ 197087 w 1664"/>
              <a:gd name="T63" fmla="*/ 206568 h 1071"/>
              <a:gd name="T64" fmla="*/ 179603 w 1664"/>
              <a:gd name="T65" fmla="*/ 206568 h 1071"/>
              <a:gd name="T66" fmla="*/ 158146 w 1664"/>
              <a:gd name="T67" fmla="*/ 203390 h 1071"/>
              <a:gd name="T68" fmla="*/ 151789 w 1664"/>
              <a:gd name="T69" fmla="*/ 203390 h 1071"/>
              <a:gd name="T70" fmla="*/ 148610 w 1664"/>
              <a:gd name="T71" fmla="*/ 206568 h 1071"/>
              <a:gd name="T72" fmla="*/ 138279 w 1664"/>
              <a:gd name="T73" fmla="*/ 200212 h 1071"/>
              <a:gd name="T74" fmla="*/ 131126 w 1664"/>
              <a:gd name="T75" fmla="*/ 193856 h 1071"/>
              <a:gd name="T76" fmla="*/ 127947 w 1664"/>
              <a:gd name="T77" fmla="*/ 171610 h 1071"/>
              <a:gd name="T78" fmla="*/ 96954 w 1664"/>
              <a:gd name="T79" fmla="*/ 171610 h 1071"/>
              <a:gd name="T80" fmla="*/ 79470 w 1664"/>
              <a:gd name="T81" fmla="*/ 171610 h 1071"/>
              <a:gd name="T82" fmla="*/ 58808 w 1664"/>
              <a:gd name="T83" fmla="*/ 168432 h 1071"/>
              <a:gd name="T84" fmla="*/ 44503 w 1664"/>
              <a:gd name="T85" fmla="*/ 158898 h 1071"/>
              <a:gd name="T86" fmla="*/ 24636 w 1664"/>
              <a:gd name="T87" fmla="*/ 146186 h 1071"/>
              <a:gd name="T88" fmla="*/ 34172 w 1664"/>
              <a:gd name="T89" fmla="*/ 133474 h 1071"/>
              <a:gd name="T90" fmla="*/ 20662 w 1664"/>
              <a:gd name="T91" fmla="*/ 127119 h 1071"/>
              <a:gd name="T92" fmla="*/ 3974 w 1664"/>
              <a:gd name="T93" fmla="*/ 117585 h 1071"/>
              <a:gd name="T94" fmla="*/ 0 w 1664"/>
              <a:gd name="T95" fmla="*/ 108051 h 1071"/>
              <a:gd name="T96" fmla="*/ 14305 w 1664"/>
              <a:gd name="T97" fmla="*/ 95339 h 1071"/>
              <a:gd name="T98" fmla="*/ 34172 w 1664"/>
              <a:gd name="T99" fmla="*/ 85805 h 1071"/>
              <a:gd name="T100" fmla="*/ 34172 w 1664"/>
              <a:gd name="T101" fmla="*/ 63559 h 1071"/>
              <a:gd name="T102" fmla="*/ 58808 w 1664"/>
              <a:gd name="T103" fmla="*/ 50847 h 1071"/>
              <a:gd name="T104" fmla="*/ 69139 w 1664"/>
              <a:gd name="T105" fmla="*/ 38136 h 107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64"/>
              <a:gd name="T160" fmla="*/ 0 h 1071"/>
              <a:gd name="T161" fmla="*/ 1664 w 1664"/>
              <a:gd name="T162" fmla="*/ 1071 h 1071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19 w 10000"/>
              <a:gd name="connsiteY137" fmla="*/ 5966 h 10000"/>
              <a:gd name="connsiteX138" fmla="*/ 415 w 10000"/>
              <a:gd name="connsiteY138" fmla="*/ 5817 h 10000"/>
              <a:gd name="connsiteX139" fmla="*/ 306 w 10000"/>
              <a:gd name="connsiteY139" fmla="*/ 5677 h 10000"/>
              <a:gd name="connsiteX140" fmla="*/ 102 w 10000"/>
              <a:gd name="connsiteY140" fmla="*/ 5518 h 10000"/>
              <a:gd name="connsiteX141" fmla="*/ 216 w 10000"/>
              <a:gd name="connsiteY141" fmla="*/ 5243 h 10000"/>
              <a:gd name="connsiteX142" fmla="*/ 204 w 10000"/>
              <a:gd name="connsiteY142" fmla="*/ 5070 h 10000"/>
              <a:gd name="connsiteX143" fmla="*/ 0 w 10000"/>
              <a:gd name="connsiteY143" fmla="*/ 5070 h 10000"/>
              <a:gd name="connsiteX144" fmla="*/ 0 w 10000"/>
              <a:gd name="connsiteY144" fmla="*/ 4622 h 10000"/>
              <a:gd name="connsiteX145" fmla="*/ 204 w 10000"/>
              <a:gd name="connsiteY145" fmla="*/ 4482 h 10000"/>
              <a:gd name="connsiteX146" fmla="*/ 415 w 10000"/>
              <a:gd name="connsiteY146" fmla="*/ 4482 h 10000"/>
              <a:gd name="connsiteX147" fmla="*/ 517 w 10000"/>
              <a:gd name="connsiteY147" fmla="*/ 4332 h 10000"/>
              <a:gd name="connsiteX148" fmla="*/ 727 w 10000"/>
              <a:gd name="connsiteY148" fmla="*/ 4332 h 10000"/>
              <a:gd name="connsiteX149" fmla="*/ 1034 w 10000"/>
              <a:gd name="connsiteY149" fmla="*/ 4034 h 10000"/>
              <a:gd name="connsiteX150" fmla="*/ 1142 w 10000"/>
              <a:gd name="connsiteY150" fmla="*/ 3725 h 10000"/>
              <a:gd name="connsiteX151" fmla="*/ 1034 w 10000"/>
              <a:gd name="connsiteY151" fmla="*/ 3137 h 10000"/>
              <a:gd name="connsiteX152" fmla="*/ 1034 w 10000"/>
              <a:gd name="connsiteY152" fmla="*/ 2988 h 10000"/>
              <a:gd name="connsiteX153" fmla="*/ 1346 w 10000"/>
              <a:gd name="connsiteY153" fmla="*/ 2988 h 10000"/>
              <a:gd name="connsiteX154" fmla="*/ 1454 w 10000"/>
              <a:gd name="connsiteY154" fmla="*/ 2381 h 10000"/>
              <a:gd name="connsiteX155" fmla="*/ 1773 w 10000"/>
              <a:gd name="connsiteY155" fmla="*/ 2381 h 10000"/>
              <a:gd name="connsiteX156" fmla="*/ 1881 w 10000"/>
              <a:gd name="connsiteY156" fmla="*/ 2381 h 10000"/>
              <a:gd name="connsiteX157" fmla="*/ 1983 w 10000"/>
              <a:gd name="connsiteY157" fmla="*/ 1933 h 10000"/>
              <a:gd name="connsiteX158" fmla="*/ 2085 w 10000"/>
              <a:gd name="connsiteY158" fmla="*/ 1793 h 10000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19 w 10000"/>
              <a:gd name="connsiteY137" fmla="*/ 5966 h 10000"/>
              <a:gd name="connsiteX138" fmla="*/ 415 w 10000"/>
              <a:gd name="connsiteY138" fmla="*/ 5817 h 10000"/>
              <a:gd name="connsiteX139" fmla="*/ 444 w 10000"/>
              <a:gd name="connsiteY139" fmla="*/ 5373 h 10000"/>
              <a:gd name="connsiteX140" fmla="*/ 102 w 10000"/>
              <a:gd name="connsiteY140" fmla="*/ 5518 h 10000"/>
              <a:gd name="connsiteX141" fmla="*/ 216 w 10000"/>
              <a:gd name="connsiteY141" fmla="*/ 5243 h 10000"/>
              <a:gd name="connsiteX142" fmla="*/ 204 w 10000"/>
              <a:gd name="connsiteY142" fmla="*/ 5070 h 10000"/>
              <a:gd name="connsiteX143" fmla="*/ 0 w 10000"/>
              <a:gd name="connsiteY143" fmla="*/ 5070 h 10000"/>
              <a:gd name="connsiteX144" fmla="*/ 0 w 10000"/>
              <a:gd name="connsiteY144" fmla="*/ 4622 h 10000"/>
              <a:gd name="connsiteX145" fmla="*/ 204 w 10000"/>
              <a:gd name="connsiteY145" fmla="*/ 4482 h 10000"/>
              <a:gd name="connsiteX146" fmla="*/ 415 w 10000"/>
              <a:gd name="connsiteY146" fmla="*/ 4482 h 10000"/>
              <a:gd name="connsiteX147" fmla="*/ 517 w 10000"/>
              <a:gd name="connsiteY147" fmla="*/ 4332 h 10000"/>
              <a:gd name="connsiteX148" fmla="*/ 727 w 10000"/>
              <a:gd name="connsiteY148" fmla="*/ 4332 h 10000"/>
              <a:gd name="connsiteX149" fmla="*/ 1034 w 10000"/>
              <a:gd name="connsiteY149" fmla="*/ 4034 h 10000"/>
              <a:gd name="connsiteX150" fmla="*/ 1142 w 10000"/>
              <a:gd name="connsiteY150" fmla="*/ 3725 h 10000"/>
              <a:gd name="connsiteX151" fmla="*/ 1034 w 10000"/>
              <a:gd name="connsiteY151" fmla="*/ 3137 h 10000"/>
              <a:gd name="connsiteX152" fmla="*/ 1034 w 10000"/>
              <a:gd name="connsiteY152" fmla="*/ 2988 h 10000"/>
              <a:gd name="connsiteX153" fmla="*/ 1346 w 10000"/>
              <a:gd name="connsiteY153" fmla="*/ 2988 h 10000"/>
              <a:gd name="connsiteX154" fmla="*/ 1454 w 10000"/>
              <a:gd name="connsiteY154" fmla="*/ 2381 h 10000"/>
              <a:gd name="connsiteX155" fmla="*/ 1773 w 10000"/>
              <a:gd name="connsiteY155" fmla="*/ 2381 h 10000"/>
              <a:gd name="connsiteX156" fmla="*/ 1881 w 10000"/>
              <a:gd name="connsiteY156" fmla="*/ 2381 h 10000"/>
              <a:gd name="connsiteX157" fmla="*/ 1983 w 10000"/>
              <a:gd name="connsiteY157" fmla="*/ 1933 h 10000"/>
              <a:gd name="connsiteX158" fmla="*/ 2085 w 10000"/>
              <a:gd name="connsiteY158" fmla="*/ 1793 h 10000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19 w 10000"/>
              <a:gd name="connsiteY137" fmla="*/ 5966 h 10000"/>
              <a:gd name="connsiteX138" fmla="*/ 936 w 10000"/>
              <a:gd name="connsiteY138" fmla="*/ 5821 h 10000"/>
              <a:gd name="connsiteX139" fmla="*/ 444 w 10000"/>
              <a:gd name="connsiteY139" fmla="*/ 5373 h 10000"/>
              <a:gd name="connsiteX140" fmla="*/ 102 w 10000"/>
              <a:gd name="connsiteY140" fmla="*/ 5518 h 10000"/>
              <a:gd name="connsiteX141" fmla="*/ 216 w 10000"/>
              <a:gd name="connsiteY141" fmla="*/ 5243 h 10000"/>
              <a:gd name="connsiteX142" fmla="*/ 204 w 10000"/>
              <a:gd name="connsiteY142" fmla="*/ 5070 h 10000"/>
              <a:gd name="connsiteX143" fmla="*/ 0 w 10000"/>
              <a:gd name="connsiteY143" fmla="*/ 5070 h 10000"/>
              <a:gd name="connsiteX144" fmla="*/ 0 w 10000"/>
              <a:gd name="connsiteY144" fmla="*/ 4622 h 10000"/>
              <a:gd name="connsiteX145" fmla="*/ 204 w 10000"/>
              <a:gd name="connsiteY145" fmla="*/ 4482 h 10000"/>
              <a:gd name="connsiteX146" fmla="*/ 415 w 10000"/>
              <a:gd name="connsiteY146" fmla="*/ 4482 h 10000"/>
              <a:gd name="connsiteX147" fmla="*/ 517 w 10000"/>
              <a:gd name="connsiteY147" fmla="*/ 4332 h 10000"/>
              <a:gd name="connsiteX148" fmla="*/ 727 w 10000"/>
              <a:gd name="connsiteY148" fmla="*/ 4332 h 10000"/>
              <a:gd name="connsiteX149" fmla="*/ 1034 w 10000"/>
              <a:gd name="connsiteY149" fmla="*/ 4034 h 10000"/>
              <a:gd name="connsiteX150" fmla="*/ 1142 w 10000"/>
              <a:gd name="connsiteY150" fmla="*/ 3725 h 10000"/>
              <a:gd name="connsiteX151" fmla="*/ 1034 w 10000"/>
              <a:gd name="connsiteY151" fmla="*/ 3137 h 10000"/>
              <a:gd name="connsiteX152" fmla="*/ 1034 w 10000"/>
              <a:gd name="connsiteY152" fmla="*/ 2988 h 10000"/>
              <a:gd name="connsiteX153" fmla="*/ 1346 w 10000"/>
              <a:gd name="connsiteY153" fmla="*/ 2988 h 10000"/>
              <a:gd name="connsiteX154" fmla="*/ 1454 w 10000"/>
              <a:gd name="connsiteY154" fmla="*/ 2381 h 10000"/>
              <a:gd name="connsiteX155" fmla="*/ 1773 w 10000"/>
              <a:gd name="connsiteY155" fmla="*/ 2381 h 10000"/>
              <a:gd name="connsiteX156" fmla="*/ 1881 w 10000"/>
              <a:gd name="connsiteY156" fmla="*/ 2381 h 10000"/>
              <a:gd name="connsiteX157" fmla="*/ 1983 w 10000"/>
              <a:gd name="connsiteY157" fmla="*/ 1933 h 10000"/>
              <a:gd name="connsiteX158" fmla="*/ 2085 w 10000"/>
              <a:gd name="connsiteY158" fmla="*/ 1793 h 10000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19 w 10000"/>
              <a:gd name="connsiteY137" fmla="*/ 5966 h 10000"/>
              <a:gd name="connsiteX138" fmla="*/ 444 w 10000"/>
              <a:gd name="connsiteY138" fmla="*/ 5373 h 10000"/>
              <a:gd name="connsiteX139" fmla="*/ 102 w 10000"/>
              <a:gd name="connsiteY139" fmla="*/ 5518 h 10000"/>
              <a:gd name="connsiteX140" fmla="*/ 216 w 10000"/>
              <a:gd name="connsiteY140" fmla="*/ 5243 h 10000"/>
              <a:gd name="connsiteX141" fmla="*/ 204 w 10000"/>
              <a:gd name="connsiteY141" fmla="*/ 5070 h 10000"/>
              <a:gd name="connsiteX142" fmla="*/ 0 w 10000"/>
              <a:gd name="connsiteY142" fmla="*/ 5070 h 10000"/>
              <a:gd name="connsiteX143" fmla="*/ 0 w 10000"/>
              <a:gd name="connsiteY143" fmla="*/ 4622 h 10000"/>
              <a:gd name="connsiteX144" fmla="*/ 204 w 10000"/>
              <a:gd name="connsiteY144" fmla="*/ 4482 h 10000"/>
              <a:gd name="connsiteX145" fmla="*/ 415 w 10000"/>
              <a:gd name="connsiteY145" fmla="*/ 4482 h 10000"/>
              <a:gd name="connsiteX146" fmla="*/ 517 w 10000"/>
              <a:gd name="connsiteY146" fmla="*/ 4332 h 10000"/>
              <a:gd name="connsiteX147" fmla="*/ 727 w 10000"/>
              <a:gd name="connsiteY147" fmla="*/ 4332 h 10000"/>
              <a:gd name="connsiteX148" fmla="*/ 1034 w 10000"/>
              <a:gd name="connsiteY148" fmla="*/ 4034 h 10000"/>
              <a:gd name="connsiteX149" fmla="*/ 1142 w 10000"/>
              <a:gd name="connsiteY149" fmla="*/ 3725 h 10000"/>
              <a:gd name="connsiteX150" fmla="*/ 1034 w 10000"/>
              <a:gd name="connsiteY150" fmla="*/ 3137 h 10000"/>
              <a:gd name="connsiteX151" fmla="*/ 1034 w 10000"/>
              <a:gd name="connsiteY151" fmla="*/ 2988 h 10000"/>
              <a:gd name="connsiteX152" fmla="*/ 1346 w 10000"/>
              <a:gd name="connsiteY152" fmla="*/ 2988 h 10000"/>
              <a:gd name="connsiteX153" fmla="*/ 1454 w 10000"/>
              <a:gd name="connsiteY153" fmla="*/ 2381 h 10000"/>
              <a:gd name="connsiteX154" fmla="*/ 1773 w 10000"/>
              <a:gd name="connsiteY154" fmla="*/ 2381 h 10000"/>
              <a:gd name="connsiteX155" fmla="*/ 1881 w 10000"/>
              <a:gd name="connsiteY155" fmla="*/ 2381 h 10000"/>
              <a:gd name="connsiteX156" fmla="*/ 1983 w 10000"/>
              <a:gd name="connsiteY156" fmla="*/ 1933 h 10000"/>
              <a:gd name="connsiteX157" fmla="*/ 2085 w 10000"/>
              <a:gd name="connsiteY157" fmla="*/ 1793 h 10000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73 w 10000"/>
              <a:gd name="connsiteY137" fmla="*/ 5821 h 10000"/>
              <a:gd name="connsiteX138" fmla="*/ 444 w 10000"/>
              <a:gd name="connsiteY138" fmla="*/ 5373 h 10000"/>
              <a:gd name="connsiteX139" fmla="*/ 102 w 10000"/>
              <a:gd name="connsiteY139" fmla="*/ 5518 h 10000"/>
              <a:gd name="connsiteX140" fmla="*/ 216 w 10000"/>
              <a:gd name="connsiteY140" fmla="*/ 5243 h 10000"/>
              <a:gd name="connsiteX141" fmla="*/ 204 w 10000"/>
              <a:gd name="connsiteY141" fmla="*/ 5070 h 10000"/>
              <a:gd name="connsiteX142" fmla="*/ 0 w 10000"/>
              <a:gd name="connsiteY142" fmla="*/ 5070 h 10000"/>
              <a:gd name="connsiteX143" fmla="*/ 0 w 10000"/>
              <a:gd name="connsiteY143" fmla="*/ 4622 h 10000"/>
              <a:gd name="connsiteX144" fmla="*/ 204 w 10000"/>
              <a:gd name="connsiteY144" fmla="*/ 4482 h 10000"/>
              <a:gd name="connsiteX145" fmla="*/ 415 w 10000"/>
              <a:gd name="connsiteY145" fmla="*/ 4482 h 10000"/>
              <a:gd name="connsiteX146" fmla="*/ 517 w 10000"/>
              <a:gd name="connsiteY146" fmla="*/ 4332 h 10000"/>
              <a:gd name="connsiteX147" fmla="*/ 727 w 10000"/>
              <a:gd name="connsiteY147" fmla="*/ 4332 h 10000"/>
              <a:gd name="connsiteX148" fmla="*/ 1034 w 10000"/>
              <a:gd name="connsiteY148" fmla="*/ 4034 h 10000"/>
              <a:gd name="connsiteX149" fmla="*/ 1142 w 10000"/>
              <a:gd name="connsiteY149" fmla="*/ 3725 h 10000"/>
              <a:gd name="connsiteX150" fmla="*/ 1034 w 10000"/>
              <a:gd name="connsiteY150" fmla="*/ 3137 h 10000"/>
              <a:gd name="connsiteX151" fmla="*/ 1034 w 10000"/>
              <a:gd name="connsiteY151" fmla="*/ 2988 h 10000"/>
              <a:gd name="connsiteX152" fmla="*/ 1346 w 10000"/>
              <a:gd name="connsiteY152" fmla="*/ 2988 h 10000"/>
              <a:gd name="connsiteX153" fmla="*/ 1454 w 10000"/>
              <a:gd name="connsiteY153" fmla="*/ 2381 h 10000"/>
              <a:gd name="connsiteX154" fmla="*/ 1773 w 10000"/>
              <a:gd name="connsiteY154" fmla="*/ 2381 h 10000"/>
              <a:gd name="connsiteX155" fmla="*/ 1881 w 10000"/>
              <a:gd name="connsiteY155" fmla="*/ 2381 h 10000"/>
              <a:gd name="connsiteX156" fmla="*/ 1983 w 10000"/>
              <a:gd name="connsiteY156" fmla="*/ 1933 h 10000"/>
              <a:gd name="connsiteX157" fmla="*/ 2085 w 10000"/>
              <a:gd name="connsiteY157" fmla="*/ 1793 h 10000"/>
              <a:gd name="connsiteX0" fmla="*/ 2085 w 10000"/>
              <a:gd name="connsiteY0" fmla="*/ 1793 h 10000"/>
              <a:gd name="connsiteX1" fmla="*/ 2085 w 10000"/>
              <a:gd name="connsiteY1" fmla="*/ 1793 h 10000"/>
              <a:gd name="connsiteX2" fmla="*/ 2296 w 10000"/>
              <a:gd name="connsiteY2" fmla="*/ 1643 h 10000"/>
              <a:gd name="connsiteX3" fmla="*/ 2500 w 10000"/>
              <a:gd name="connsiteY3" fmla="*/ 2092 h 10000"/>
              <a:gd name="connsiteX4" fmla="*/ 2710 w 10000"/>
              <a:gd name="connsiteY4" fmla="*/ 2092 h 10000"/>
              <a:gd name="connsiteX5" fmla="*/ 2813 w 10000"/>
              <a:gd name="connsiteY5" fmla="*/ 2381 h 10000"/>
              <a:gd name="connsiteX6" fmla="*/ 2813 w 10000"/>
              <a:gd name="connsiteY6" fmla="*/ 2988 h 10000"/>
              <a:gd name="connsiteX7" fmla="*/ 3438 w 10000"/>
              <a:gd name="connsiteY7" fmla="*/ 3277 h 10000"/>
              <a:gd name="connsiteX8" fmla="*/ 3750 w 10000"/>
              <a:gd name="connsiteY8" fmla="*/ 3725 h 10000"/>
              <a:gd name="connsiteX9" fmla="*/ 4369 w 10000"/>
              <a:gd name="connsiteY9" fmla="*/ 3725 h 10000"/>
              <a:gd name="connsiteX10" fmla="*/ 4681 w 10000"/>
              <a:gd name="connsiteY10" fmla="*/ 4034 h 10000"/>
              <a:gd name="connsiteX11" fmla="*/ 5096 w 10000"/>
              <a:gd name="connsiteY11" fmla="*/ 4174 h 10000"/>
              <a:gd name="connsiteX12" fmla="*/ 5523 w 10000"/>
              <a:gd name="connsiteY12" fmla="*/ 3884 h 10000"/>
              <a:gd name="connsiteX13" fmla="*/ 5938 w 10000"/>
              <a:gd name="connsiteY13" fmla="*/ 3884 h 10000"/>
              <a:gd name="connsiteX14" fmla="*/ 6250 w 10000"/>
              <a:gd name="connsiteY14" fmla="*/ 3436 h 10000"/>
              <a:gd name="connsiteX15" fmla="*/ 6148 w 10000"/>
              <a:gd name="connsiteY15" fmla="*/ 3277 h 10000"/>
              <a:gd name="connsiteX16" fmla="*/ 6352 w 10000"/>
              <a:gd name="connsiteY16" fmla="*/ 2988 h 10000"/>
              <a:gd name="connsiteX17" fmla="*/ 6563 w 10000"/>
              <a:gd name="connsiteY17" fmla="*/ 3137 h 10000"/>
              <a:gd name="connsiteX18" fmla="*/ 6875 w 10000"/>
              <a:gd name="connsiteY18" fmla="*/ 2829 h 10000"/>
              <a:gd name="connsiteX19" fmla="*/ 7079 w 10000"/>
              <a:gd name="connsiteY19" fmla="*/ 2540 h 10000"/>
              <a:gd name="connsiteX20" fmla="*/ 7494 w 10000"/>
              <a:gd name="connsiteY20" fmla="*/ 2540 h 10000"/>
              <a:gd name="connsiteX21" fmla="*/ 7392 w 10000"/>
              <a:gd name="connsiteY21" fmla="*/ 2241 h 10000"/>
              <a:gd name="connsiteX22" fmla="*/ 7290 w 10000"/>
              <a:gd name="connsiteY22" fmla="*/ 2092 h 10000"/>
              <a:gd name="connsiteX23" fmla="*/ 7079 w 10000"/>
              <a:gd name="connsiteY23" fmla="*/ 2241 h 10000"/>
              <a:gd name="connsiteX24" fmla="*/ 6875 w 10000"/>
              <a:gd name="connsiteY24" fmla="*/ 2241 h 10000"/>
              <a:gd name="connsiteX25" fmla="*/ 6875 w 10000"/>
              <a:gd name="connsiteY25" fmla="*/ 1643 h 10000"/>
              <a:gd name="connsiteX26" fmla="*/ 6977 w 10000"/>
              <a:gd name="connsiteY26" fmla="*/ 1345 h 10000"/>
              <a:gd name="connsiteX27" fmla="*/ 7188 w 10000"/>
              <a:gd name="connsiteY27" fmla="*/ 1485 h 10000"/>
              <a:gd name="connsiteX28" fmla="*/ 7494 w 10000"/>
              <a:gd name="connsiteY28" fmla="*/ 1345 h 10000"/>
              <a:gd name="connsiteX29" fmla="*/ 7602 w 10000"/>
              <a:gd name="connsiteY29" fmla="*/ 747 h 10000"/>
              <a:gd name="connsiteX30" fmla="*/ 7704 w 10000"/>
              <a:gd name="connsiteY30" fmla="*/ 588 h 10000"/>
              <a:gd name="connsiteX31" fmla="*/ 7704 w 10000"/>
              <a:gd name="connsiteY31" fmla="*/ 448 h 10000"/>
              <a:gd name="connsiteX32" fmla="*/ 7602 w 10000"/>
              <a:gd name="connsiteY32" fmla="*/ 448 h 10000"/>
              <a:gd name="connsiteX33" fmla="*/ 7704 w 10000"/>
              <a:gd name="connsiteY33" fmla="*/ 140 h 10000"/>
              <a:gd name="connsiteX34" fmla="*/ 8119 w 10000"/>
              <a:gd name="connsiteY34" fmla="*/ 0 h 10000"/>
              <a:gd name="connsiteX35" fmla="*/ 8431 w 10000"/>
              <a:gd name="connsiteY35" fmla="*/ 140 h 10000"/>
              <a:gd name="connsiteX36" fmla="*/ 8642 w 10000"/>
              <a:gd name="connsiteY36" fmla="*/ 448 h 10000"/>
              <a:gd name="connsiteX37" fmla="*/ 8846 w 10000"/>
              <a:gd name="connsiteY37" fmla="*/ 1485 h 10000"/>
              <a:gd name="connsiteX38" fmla="*/ 9056 w 10000"/>
              <a:gd name="connsiteY38" fmla="*/ 1485 h 10000"/>
              <a:gd name="connsiteX39" fmla="*/ 9363 w 10000"/>
              <a:gd name="connsiteY39" fmla="*/ 1793 h 10000"/>
              <a:gd name="connsiteX40" fmla="*/ 9363 w 10000"/>
              <a:gd name="connsiteY40" fmla="*/ 2092 h 10000"/>
              <a:gd name="connsiteX41" fmla="*/ 9585 w 10000"/>
              <a:gd name="connsiteY41" fmla="*/ 2092 h 10000"/>
              <a:gd name="connsiteX42" fmla="*/ 10000 w 10000"/>
              <a:gd name="connsiteY42" fmla="*/ 1933 h 10000"/>
              <a:gd name="connsiteX43" fmla="*/ 10000 w 10000"/>
              <a:gd name="connsiteY43" fmla="*/ 2241 h 10000"/>
              <a:gd name="connsiteX44" fmla="*/ 9688 w 10000"/>
              <a:gd name="connsiteY44" fmla="*/ 3137 h 10000"/>
              <a:gd name="connsiteX45" fmla="*/ 9585 w 10000"/>
              <a:gd name="connsiteY45" fmla="*/ 2988 h 10000"/>
              <a:gd name="connsiteX46" fmla="*/ 9363 w 10000"/>
              <a:gd name="connsiteY46" fmla="*/ 3137 h 10000"/>
              <a:gd name="connsiteX47" fmla="*/ 9483 w 10000"/>
              <a:gd name="connsiteY47" fmla="*/ 3585 h 10000"/>
              <a:gd name="connsiteX48" fmla="*/ 9363 w 10000"/>
              <a:gd name="connsiteY48" fmla="*/ 3884 h 10000"/>
              <a:gd name="connsiteX49" fmla="*/ 9261 w 10000"/>
              <a:gd name="connsiteY49" fmla="*/ 3884 h 10000"/>
              <a:gd name="connsiteX50" fmla="*/ 9056 w 10000"/>
              <a:gd name="connsiteY50" fmla="*/ 4034 h 10000"/>
              <a:gd name="connsiteX51" fmla="*/ 8948 w 10000"/>
              <a:gd name="connsiteY51" fmla="*/ 4034 h 10000"/>
              <a:gd name="connsiteX52" fmla="*/ 8846 w 10000"/>
              <a:gd name="connsiteY52" fmla="*/ 4174 h 10000"/>
              <a:gd name="connsiteX53" fmla="*/ 8744 w 10000"/>
              <a:gd name="connsiteY53" fmla="*/ 4174 h 10000"/>
              <a:gd name="connsiteX54" fmla="*/ 8329 w 10000"/>
              <a:gd name="connsiteY54" fmla="*/ 4622 h 10000"/>
              <a:gd name="connsiteX55" fmla="*/ 8329 w 10000"/>
              <a:gd name="connsiteY55" fmla="*/ 4781 h 10000"/>
              <a:gd name="connsiteX56" fmla="*/ 8119 w 10000"/>
              <a:gd name="connsiteY56" fmla="*/ 4781 h 10000"/>
              <a:gd name="connsiteX57" fmla="*/ 7806 w 10000"/>
              <a:gd name="connsiteY57" fmla="*/ 5070 h 10000"/>
              <a:gd name="connsiteX58" fmla="*/ 7806 w 10000"/>
              <a:gd name="connsiteY58" fmla="*/ 4930 h 10000"/>
              <a:gd name="connsiteX59" fmla="*/ 7806 w 10000"/>
              <a:gd name="connsiteY59" fmla="*/ 4781 h 10000"/>
              <a:gd name="connsiteX60" fmla="*/ 7915 w 10000"/>
              <a:gd name="connsiteY60" fmla="*/ 4482 h 10000"/>
              <a:gd name="connsiteX61" fmla="*/ 7806 w 10000"/>
              <a:gd name="connsiteY61" fmla="*/ 4332 h 10000"/>
              <a:gd name="connsiteX62" fmla="*/ 7494 w 10000"/>
              <a:gd name="connsiteY62" fmla="*/ 4781 h 10000"/>
              <a:gd name="connsiteX63" fmla="*/ 7392 w 10000"/>
              <a:gd name="connsiteY63" fmla="*/ 4930 h 10000"/>
              <a:gd name="connsiteX64" fmla="*/ 7290 w 10000"/>
              <a:gd name="connsiteY64" fmla="*/ 4930 h 10000"/>
              <a:gd name="connsiteX65" fmla="*/ 7188 w 10000"/>
              <a:gd name="connsiteY65" fmla="*/ 5070 h 10000"/>
              <a:gd name="connsiteX66" fmla="*/ 7494 w 10000"/>
              <a:gd name="connsiteY66" fmla="*/ 5518 h 10000"/>
              <a:gd name="connsiteX67" fmla="*/ 7704 w 10000"/>
              <a:gd name="connsiteY67" fmla="*/ 5369 h 10000"/>
              <a:gd name="connsiteX68" fmla="*/ 8017 w 10000"/>
              <a:gd name="connsiteY68" fmla="*/ 5518 h 10000"/>
              <a:gd name="connsiteX69" fmla="*/ 8017 w 10000"/>
              <a:gd name="connsiteY69" fmla="*/ 5677 h 10000"/>
              <a:gd name="connsiteX70" fmla="*/ 7915 w 10000"/>
              <a:gd name="connsiteY70" fmla="*/ 5518 h 10000"/>
              <a:gd name="connsiteX71" fmla="*/ 7704 w 10000"/>
              <a:gd name="connsiteY71" fmla="*/ 5677 h 10000"/>
              <a:gd name="connsiteX72" fmla="*/ 7494 w 10000"/>
              <a:gd name="connsiteY72" fmla="*/ 6125 h 10000"/>
              <a:gd name="connsiteX73" fmla="*/ 7602 w 10000"/>
              <a:gd name="connsiteY73" fmla="*/ 6265 h 10000"/>
              <a:gd name="connsiteX74" fmla="*/ 7704 w 10000"/>
              <a:gd name="connsiteY74" fmla="*/ 6863 h 10000"/>
              <a:gd name="connsiteX75" fmla="*/ 7915 w 10000"/>
              <a:gd name="connsiteY75" fmla="*/ 7021 h 10000"/>
              <a:gd name="connsiteX76" fmla="*/ 7806 w 10000"/>
              <a:gd name="connsiteY76" fmla="*/ 7021 h 10000"/>
              <a:gd name="connsiteX77" fmla="*/ 7915 w 10000"/>
              <a:gd name="connsiteY77" fmla="*/ 7311 h 10000"/>
              <a:gd name="connsiteX78" fmla="*/ 7602 w 10000"/>
              <a:gd name="connsiteY78" fmla="*/ 7470 h 10000"/>
              <a:gd name="connsiteX79" fmla="*/ 7915 w 10000"/>
              <a:gd name="connsiteY79" fmla="*/ 7470 h 10000"/>
              <a:gd name="connsiteX80" fmla="*/ 7806 w 10000"/>
              <a:gd name="connsiteY80" fmla="*/ 8058 h 10000"/>
              <a:gd name="connsiteX81" fmla="*/ 7602 w 10000"/>
              <a:gd name="connsiteY81" fmla="*/ 8366 h 10000"/>
              <a:gd name="connsiteX82" fmla="*/ 7494 w 10000"/>
              <a:gd name="connsiteY82" fmla="*/ 8366 h 10000"/>
              <a:gd name="connsiteX83" fmla="*/ 7494 w 10000"/>
              <a:gd name="connsiteY83" fmla="*/ 8655 h 10000"/>
              <a:gd name="connsiteX84" fmla="*/ 7392 w 10000"/>
              <a:gd name="connsiteY84" fmla="*/ 8954 h 10000"/>
              <a:gd name="connsiteX85" fmla="*/ 7290 w 10000"/>
              <a:gd name="connsiteY85" fmla="*/ 8954 h 10000"/>
              <a:gd name="connsiteX86" fmla="*/ 7290 w 10000"/>
              <a:gd name="connsiteY86" fmla="*/ 9104 h 10000"/>
              <a:gd name="connsiteX87" fmla="*/ 6977 w 10000"/>
              <a:gd name="connsiteY87" fmla="*/ 9402 h 10000"/>
              <a:gd name="connsiteX88" fmla="*/ 6665 w 10000"/>
              <a:gd name="connsiteY88" fmla="*/ 9402 h 10000"/>
              <a:gd name="connsiteX89" fmla="*/ 6665 w 10000"/>
              <a:gd name="connsiteY89" fmla="*/ 9552 h 10000"/>
              <a:gd name="connsiteX90" fmla="*/ 6563 w 10000"/>
              <a:gd name="connsiteY90" fmla="*/ 9402 h 10000"/>
              <a:gd name="connsiteX91" fmla="*/ 6563 w 10000"/>
              <a:gd name="connsiteY91" fmla="*/ 9552 h 10000"/>
              <a:gd name="connsiteX92" fmla="*/ 6460 w 10000"/>
              <a:gd name="connsiteY92" fmla="*/ 9552 h 10000"/>
              <a:gd name="connsiteX93" fmla="*/ 6046 w 10000"/>
              <a:gd name="connsiteY93" fmla="*/ 9851 h 10000"/>
              <a:gd name="connsiteX94" fmla="*/ 5938 w 10000"/>
              <a:gd name="connsiteY94" fmla="*/ 10000 h 10000"/>
              <a:gd name="connsiteX95" fmla="*/ 5938 w 10000"/>
              <a:gd name="connsiteY95" fmla="*/ 9711 h 10000"/>
              <a:gd name="connsiteX96" fmla="*/ 5733 w 10000"/>
              <a:gd name="connsiteY96" fmla="*/ 9711 h 10000"/>
              <a:gd name="connsiteX97" fmla="*/ 5625 w 10000"/>
              <a:gd name="connsiteY97" fmla="*/ 9711 h 10000"/>
              <a:gd name="connsiteX98" fmla="*/ 5409 w 10000"/>
              <a:gd name="connsiteY98" fmla="*/ 9711 h 10000"/>
              <a:gd name="connsiteX99" fmla="*/ 5409 w 10000"/>
              <a:gd name="connsiteY99" fmla="*/ 9402 h 10000"/>
              <a:gd name="connsiteX100" fmla="*/ 5198 w 10000"/>
              <a:gd name="connsiteY100" fmla="*/ 9402 h 10000"/>
              <a:gd name="connsiteX101" fmla="*/ 4784 w 10000"/>
              <a:gd name="connsiteY101" fmla="*/ 9552 h 10000"/>
              <a:gd name="connsiteX102" fmla="*/ 4681 w 10000"/>
              <a:gd name="connsiteY102" fmla="*/ 9402 h 10000"/>
              <a:gd name="connsiteX103" fmla="*/ 4681 w 10000"/>
              <a:gd name="connsiteY103" fmla="*/ 9552 h 10000"/>
              <a:gd name="connsiteX104" fmla="*/ 4579 w 10000"/>
              <a:gd name="connsiteY104" fmla="*/ 9552 h 10000"/>
              <a:gd name="connsiteX105" fmla="*/ 4579 w 10000"/>
              <a:gd name="connsiteY105" fmla="*/ 9851 h 10000"/>
              <a:gd name="connsiteX106" fmla="*/ 4477 w 10000"/>
              <a:gd name="connsiteY106" fmla="*/ 9851 h 10000"/>
              <a:gd name="connsiteX107" fmla="*/ 4477 w 10000"/>
              <a:gd name="connsiteY107" fmla="*/ 9711 h 10000"/>
              <a:gd name="connsiteX108" fmla="*/ 4369 w 10000"/>
              <a:gd name="connsiteY108" fmla="*/ 9711 h 10000"/>
              <a:gd name="connsiteX109" fmla="*/ 4165 w 10000"/>
              <a:gd name="connsiteY109" fmla="*/ 9552 h 10000"/>
              <a:gd name="connsiteX110" fmla="*/ 4165 w 10000"/>
              <a:gd name="connsiteY110" fmla="*/ 9402 h 10000"/>
              <a:gd name="connsiteX111" fmla="*/ 4165 w 10000"/>
              <a:gd name="connsiteY111" fmla="*/ 9262 h 10000"/>
              <a:gd name="connsiteX112" fmla="*/ 4056 w 10000"/>
              <a:gd name="connsiteY112" fmla="*/ 9104 h 10000"/>
              <a:gd name="connsiteX113" fmla="*/ 3954 w 10000"/>
              <a:gd name="connsiteY113" fmla="*/ 9104 h 10000"/>
              <a:gd name="connsiteX114" fmla="*/ 4056 w 10000"/>
              <a:gd name="connsiteY114" fmla="*/ 8366 h 10000"/>
              <a:gd name="connsiteX115" fmla="*/ 3954 w 10000"/>
              <a:gd name="connsiteY115" fmla="*/ 8058 h 10000"/>
              <a:gd name="connsiteX116" fmla="*/ 3852 w 10000"/>
              <a:gd name="connsiteY116" fmla="*/ 8058 h 10000"/>
              <a:gd name="connsiteX117" fmla="*/ 3642 w 10000"/>
              <a:gd name="connsiteY117" fmla="*/ 7759 h 10000"/>
              <a:gd name="connsiteX118" fmla="*/ 3438 w 10000"/>
              <a:gd name="connsiteY118" fmla="*/ 7759 h 10000"/>
              <a:gd name="connsiteX119" fmla="*/ 2915 w 10000"/>
              <a:gd name="connsiteY119" fmla="*/ 8058 h 10000"/>
              <a:gd name="connsiteX120" fmla="*/ 2608 w 10000"/>
              <a:gd name="connsiteY120" fmla="*/ 8058 h 10000"/>
              <a:gd name="connsiteX121" fmla="*/ 2500 w 10000"/>
              <a:gd name="connsiteY121" fmla="*/ 8207 h 10000"/>
              <a:gd name="connsiteX122" fmla="*/ 2398 w 10000"/>
              <a:gd name="connsiteY122" fmla="*/ 8058 h 10000"/>
              <a:gd name="connsiteX123" fmla="*/ 2296 w 10000"/>
              <a:gd name="connsiteY123" fmla="*/ 8058 h 10000"/>
              <a:gd name="connsiteX124" fmla="*/ 1983 w 10000"/>
              <a:gd name="connsiteY124" fmla="*/ 8058 h 10000"/>
              <a:gd name="connsiteX125" fmla="*/ 1773 w 10000"/>
              <a:gd name="connsiteY125" fmla="*/ 7918 h 10000"/>
              <a:gd name="connsiteX126" fmla="*/ 1671 w 10000"/>
              <a:gd name="connsiteY126" fmla="*/ 7759 h 10000"/>
              <a:gd name="connsiteX127" fmla="*/ 1556 w 10000"/>
              <a:gd name="connsiteY127" fmla="*/ 7759 h 10000"/>
              <a:gd name="connsiteX128" fmla="*/ 1346 w 10000"/>
              <a:gd name="connsiteY128" fmla="*/ 7470 h 10000"/>
              <a:gd name="connsiteX129" fmla="*/ 1142 w 10000"/>
              <a:gd name="connsiteY129" fmla="*/ 7470 h 10000"/>
              <a:gd name="connsiteX130" fmla="*/ 829 w 10000"/>
              <a:gd name="connsiteY130" fmla="*/ 7311 h 10000"/>
              <a:gd name="connsiteX131" fmla="*/ 727 w 10000"/>
              <a:gd name="connsiteY131" fmla="*/ 6863 h 10000"/>
              <a:gd name="connsiteX132" fmla="*/ 931 w 10000"/>
              <a:gd name="connsiteY132" fmla="*/ 6863 h 10000"/>
              <a:gd name="connsiteX133" fmla="*/ 829 w 10000"/>
              <a:gd name="connsiteY133" fmla="*/ 6573 h 10000"/>
              <a:gd name="connsiteX134" fmla="*/ 1034 w 10000"/>
              <a:gd name="connsiteY134" fmla="*/ 6265 h 10000"/>
              <a:gd name="connsiteX135" fmla="*/ 1034 w 10000"/>
              <a:gd name="connsiteY135" fmla="*/ 5966 h 10000"/>
              <a:gd name="connsiteX136" fmla="*/ 931 w 10000"/>
              <a:gd name="connsiteY136" fmla="*/ 5817 h 10000"/>
              <a:gd name="connsiteX137" fmla="*/ 673 w 10000"/>
              <a:gd name="connsiteY137" fmla="*/ 5821 h 10000"/>
              <a:gd name="connsiteX138" fmla="*/ 302 w 10000"/>
              <a:gd name="connsiteY138" fmla="*/ 5541 h 10000"/>
              <a:gd name="connsiteX139" fmla="*/ 102 w 10000"/>
              <a:gd name="connsiteY139" fmla="*/ 5518 h 10000"/>
              <a:gd name="connsiteX140" fmla="*/ 216 w 10000"/>
              <a:gd name="connsiteY140" fmla="*/ 5243 h 10000"/>
              <a:gd name="connsiteX141" fmla="*/ 204 w 10000"/>
              <a:gd name="connsiteY141" fmla="*/ 5070 h 10000"/>
              <a:gd name="connsiteX142" fmla="*/ 0 w 10000"/>
              <a:gd name="connsiteY142" fmla="*/ 5070 h 10000"/>
              <a:gd name="connsiteX143" fmla="*/ 0 w 10000"/>
              <a:gd name="connsiteY143" fmla="*/ 4622 h 10000"/>
              <a:gd name="connsiteX144" fmla="*/ 204 w 10000"/>
              <a:gd name="connsiteY144" fmla="*/ 4482 h 10000"/>
              <a:gd name="connsiteX145" fmla="*/ 415 w 10000"/>
              <a:gd name="connsiteY145" fmla="*/ 4482 h 10000"/>
              <a:gd name="connsiteX146" fmla="*/ 517 w 10000"/>
              <a:gd name="connsiteY146" fmla="*/ 4332 h 10000"/>
              <a:gd name="connsiteX147" fmla="*/ 727 w 10000"/>
              <a:gd name="connsiteY147" fmla="*/ 4332 h 10000"/>
              <a:gd name="connsiteX148" fmla="*/ 1034 w 10000"/>
              <a:gd name="connsiteY148" fmla="*/ 4034 h 10000"/>
              <a:gd name="connsiteX149" fmla="*/ 1142 w 10000"/>
              <a:gd name="connsiteY149" fmla="*/ 3725 h 10000"/>
              <a:gd name="connsiteX150" fmla="*/ 1034 w 10000"/>
              <a:gd name="connsiteY150" fmla="*/ 3137 h 10000"/>
              <a:gd name="connsiteX151" fmla="*/ 1034 w 10000"/>
              <a:gd name="connsiteY151" fmla="*/ 2988 h 10000"/>
              <a:gd name="connsiteX152" fmla="*/ 1346 w 10000"/>
              <a:gd name="connsiteY152" fmla="*/ 2988 h 10000"/>
              <a:gd name="connsiteX153" fmla="*/ 1454 w 10000"/>
              <a:gd name="connsiteY153" fmla="*/ 2381 h 10000"/>
              <a:gd name="connsiteX154" fmla="*/ 1773 w 10000"/>
              <a:gd name="connsiteY154" fmla="*/ 2381 h 10000"/>
              <a:gd name="connsiteX155" fmla="*/ 1881 w 10000"/>
              <a:gd name="connsiteY155" fmla="*/ 2381 h 10000"/>
              <a:gd name="connsiteX156" fmla="*/ 1983 w 10000"/>
              <a:gd name="connsiteY156" fmla="*/ 1933 h 10000"/>
              <a:gd name="connsiteX157" fmla="*/ 2085 w 10000"/>
              <a:gd name="connsiteY157" fmla="*/ 179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10000" h="10000">
                <a:moveTo>
                  <a:pt x="2085" y="1793"/>
                </a:moveTo>
                <a:lnTo>
                  <a:pt x="2085" y="1793"/>
                </a:lnTo>
                <a:lnTo>
                  <a:pt x="2296" y="1643"/>
                </a:lnTo>
                <a:lnTo>
                  <a:pt x="2500" y="2092"/>
                </a:lnTo>
                <a:lnTo>
                  <a:pt x="2710" y="2092"/>
                </a:lnTo>
                <a:cubicBezTo>
                  <a:pt x="2744" y="2188"/>
                  <a:pt x="2779" y="2285"/>
                  <a:pt x="2813" y="2381"/>
                </a:cubicBezTo>
                <a:lnTo>
                  <a:pt x="2813" y="2988"/>
                </a:lnTo>
                <a:lnTo>
                  <a:pt x="3438" y="3277"/>
                </a:lnTo>
                <a:lnTo>
                  <a:pt x="3750" y="3725"/>
                </a:lnTo>
                <a:lnTo>
                  <a:pt x="4369" y="3725"/>
                </a:lnTo>
                <a:lnTo>
                  <a:pt x="4681" y="4034"/>
                </a:lnTo>
                <a:lnTo>
                  <a:pt x="5096" y="4174"/>
                </a:lnTo>
                <a:lnTo>
                  <a:pt x="5523" y="3884"/>
                </a:lnTo>
                <a:lnTo>
                  <a:pt x="5938" y="3884"/>
                </a:lnTo>
                <a:lnTo>
                  <a:pt x="6250" y="3436"/>
                </a:lnTo>
                <a:lnTo>
                  <a:pt x="6148" y="3277"/>
                </a:lnTo>
                <a:lnTo>
                  <a:pt x="6352" y="2988"/>
                </a:lnTo>
                <a:lnTo>
                  <a:pt x="6563" y="3137"/>
                </a:lnTo>
                <a:lnTo>
                  <a:pt x="6875" y="2829"/>
                </a:lnTo>
                <a:lnTo>
                  <a:pt x="7079" y="2540"/>
                </a:lnTo>
                <a:lnTo>
                  <a:pt x="7494" y="2540"/>
                </a:lnTo>
                <a:lnTo>
                  <a:pt x="7392" y="2241"/>
                </a:lnTo>
                <a:lnTo>
                  <a:pt x="7290" y="2092"/>
                </a:lnTo>
                <a:lnTo>
                  <a:pt x="7079" y="2241"/>
                </a:lnTo>
                <a:lnTo>
                  <a:pt x="6875" y="2241"/>
                </a:lnTo>
                <a:lnTo>
                  <a:pt x="6875" y="1643"/>
                </a:lnTo>
                <a:lnTo>
                  <a:pt x="6977" y="1345"/>
                </a:lnTo>
                <a:lnTo>
                  <a:pt x="7188" y="1485"/>
                </a:lnTo>
                <a:lnTo>
                  <a:pt x="7494" y="1345"/>
                </a:lnTo>
                <a:lnTo>
                  <a:pt x="7602" y="747"/>
                </a:lnTo>
                <a:lnTo>
                  <a:pt x="7704" y="588"/>
                </a:lnTo>
                <a:lnTo>
                  <a:pt x="7704" y="448"/>
                </a:lnTo>
                <a:lnTo>
                  <a:pt x="7602" y="448"/>
                </a:lnTo>
                <a:lnTo>
                  <a:pt x="7704" y="140"/>
                </a:lnTo>
                <a:lnTo>
                  <a:pt x="8119" y="0"/>
                </a:lnTo>
                <a:lnTo>
                  <a:pt x="8431" y="140"/>
                </a:lnTo>
                <a:cubicBezTo>
                  <a:pt x="8501" y="243"/>
                  <a:pt x="8572" y="345"/>
                  <a:pt x="8642" y="448"/>
                </a:cubicBezTo>
                <a:lnTo>
                  <a:pt x="8846" y="1485"/>
                </a:lnTo>
                <a:lnTo>
                  <a:pt x="9056" y="1485"/>
                </a:lnTo>
                <a:lnTo>
                  <a:pt x="9363" y="1793"/>
                </a:lnTo>
                <a:lnTo>
                  <a:pt x="9363" y="2092"/>
                </a:lnTo>
                <a:lnTo>
                  <a:pt x="9585" y="2092"/>
                </a:lnTo>
                <a:lnTo>
                  <a:pt x="10000" y="1933"/>
                </a:lnTo>
                <a:lnTo>
                  <a:pt x="10000" y="2241"/>
                </a:lnTo>
                <a:lnTo>
                  <a:pt x="9688" y="3137"/>
                </a:lnTo>
                <a:cubicBezTo>
                  <a:pt x="9654" y="3087"/>
                  <a:pt x="9619" y="3038"/>
                  <a:pt x="9585" y="2988"/>
                </a:cubicBezTo>
                <a:lnTo>
                  <a:pt x="9363" y="3137"/>
                </a:lnTo>
                <a:lnTo>
                  <a:pt x="9483" y="3585"/>
                </a:lnTo>
                <a:lnTo>
                  <a:pt x="9363" y="3884"/>
                </a:lnTo>
                <a:lnTo>
                  <a:pt x="9261" y="3884"/>
                </a:lnTo>
                <a:lnTo>
                  <a:pt x="9056" y="4034"/>
                </a:lnTo>
                <a:lnTo>
                  <a:pt x="8948" y="4034"/>
                </a:lnTo>
                <a:lnTo>
                  <a:pt x="8846" y="4174"/>
                </a:lnTo>
                <a:lnTo>
                  <a:pt x="8744" y="4174"/>
                </a:lnTo>
                <a:lnTo>
                  <a:pt x="8329" y="4622"/>
                </a:lnTo>
                <a:lnTo>
                  <a:pt x="8329" y="4781"/>
                </a:lnTo>
                <a:lnTo>
                  <a:pt x="8119" y="4781"/>
                </a:lnTo>
                <a:lnTo>
                  <a:pt x="7806" y="5070"/>
                </a:lnTo>
                <a:lnTo>
                  <a:pt x="7806" y="4930"/>
                </a:lnTo>
                <a:lnTo>
                  <a:pt x="7806" y="4781"/>
                </a:lnTo>
                <a:cubicBezTo>
                  <a:pt x="7842" y="4681"/>
                  <a:pt x="7879" y="4582"/>
                  <a:pt x="7915" y="4482"/>
                </a:cubicBezTo>
                <a:cubicBezTo>
                  <a:pt x="7879" y="4432"/>
                  <a:pt x="7842" y="4382"/>
                  <a:pt x="7806" y="4332"/>
                </a:cubicBezTo>
                <a:lnTo>
                  <a:pt x="7494" y="4781"/>
                </a:lnTo>
                <a:lnTo>
                  <a:pt x="7392" y="4930"/>
                </a:lnTo>
                <a:lnTo>
                  <a:pt x="7290" y="4930"/>
                </a:lnTo>
                <a:lnTo>
                  <a:pt x="7188" y="5070"/>
                </a:lnTo>
                <a:lnTo>
                  <a:pt x="7494" y="5518"/>
                </a:lnTo>
                <a:lnTo>
                  <a:pt x="7704" y="5369"/>
                </a:lnTo>
                <a:lnTo>
                  <a:pt x="8017" y="5518"/>
                </a:lnTo>
                <a:lnTo>
                  <a:pt x="8017" y="5677"/>
                </a:lnTo>
                <a:lnTo>
                  <a:pt x="7915" y="5518"/>
                </a:lnTo>
                <a:lnTo>
                  <a:pt x="7704" y="5677"/>
                </a:lnTo>
                <a:lnTo>
                  <a:pt x="7494" y="6125"/>
                </a:lnTo>
                <a:lnTo>
                  <a:pt x="7602" y="6265"/>
                </a:lnTo>
                <a:lnTo>
                  <a:pt x="7704" y="6863"/>
                </a:lnTo>
                <a:lnTo>
                  <a:pt x="7915" y="7021"/>
                </a:lnTo>
                <a:lnTo>
                  <a:pt x="7806" y="7021"/>
                </a:lnTo>
                <a:cubicBezTo>
                  <a:pt x="7842" y="7118"/>
                  <a:pt x="7879" y="7214"/>
                  <a:pt x="7915" y="7311"/>
                </a:cubicBezTo>
                <a:lnTo>
                  <a:pt x="7602" y="7470"/>
                </a:lnTo>
                <a:lnTo>
                  <a:pt x="7915" y="7470"/>
                </a:lnTo>
                <a:cubicBezTo>
                  <a:pt x="7879" y="7666"/>
                  <a:pt x="7842" y="7862"/>
                  <a:pt x="7806" y="8058"/>
                </a:cubicBezTo>
                <a:lnTo>
                  <a:pt x="7602" y="8366"/>
                </a:lnTo>
                <a:lnTo>
                  <a:pt x="7494" y="8366"/>
                </a:lnTo>
                <a:lnTo>
                  <a:pt x="7494" y="8655"/>
                </a:lnTo>
                <a:lnTo>
                  <a:pt x="7392" y="8954"/>
                </a:lnTo>
                <a:lnTo>
                  <a:pt x="7290" y="8954"/>
                </a:lnTo>
                <a:lnTo>
                  <a:pt x="7290" y="9104"/>
                </a:lnTo>
                <a:lnTo>
                  <a:pt x="6977" y="9402"/>
                </a:lnTo>
                <a:lnTo>
                  <a:pt x="6665" y="9402"/>
                </a:lnTo>
                <a:lnTo>
                  <a:pt x="6665" y="9552"/>
                </a:lnTo>
                <a:lnTo>
                  <a:pt x="6563" y="9402"/>
                </a:lnTo>
                <a:lnTo>
                  <a:pt x="6563" y="9552"/>
                </a:lnTo>
                <a:lnTo>
                  <a:pt x="6460" y="9552"/>
                </a:lnTo>
                <a:lnTo>
                  <a:pt x="6046" y="9851"/>
                </a:lnTo>
                <a:lnTo>
                  <a:pt x="5938" y="10000"/>
                </a:lnTo>
                <a:lnTo>
                  <a:pt x="5938" y="9711"/>
                </a:lnTo>
                <a:lnTo>
                  <a:pt x="5733" y="9711"/>
                </a:lnTo>
                <a:lnTo>
                  <a:pt x="5625" y="9711"/>
                </a:lnTo>
                <a:lnTo>
                  <a:pt x="5409" y="9711"/>
                </a:lnTo>
                <a:lnTo>
                  <a:pt x="5409" y="9402"/>
                </a:lnTo>
                <a:lnTo>
                  <a:pt x="5198" y="9402"/>
                </a:lnTo>
                <a:lnTo>
                  <a:pt x="4784" y="9552"/>
                </a:lnTo>
                <a:cubicBezTo>
                  <a:pt x="4750" y="9502"/>
                  <a:pt x="4715" y="9452"/>
                  <a:pt x="4681" y="9402"/>
                </a:cubicBezTo>
                <a:lnTo>
                  <a:pt x="4681" y="9552"/>
                </a:lnTo>
                <a:lnTo>
                  <a:pt x="4579" y="9552"/>
                </a:lnTo>
                <a:lnTo>
                  <a:pt x="4579" y="9851"/>
                </a:lnTo>
                <a:lnTo>
                  <a:pt x="4477" y="9851"/>
                </a:lnTo>
                <a:lnTo>
                  <a:pt x="4477" y="9711"/>
                </a:lnTo>
                <a:lnTo>
                  <a:pt x="4369" y="9711"/>
                </a:lnTo>
                <a:lnTo>
                  <a:pt x="4165" y="9552"/>
                </a:lnTo>
                <a:lnTo>
                  <a:pt x="4165" y="9402"/>
                </a:lnTo>
                <a:lnTo>
                  <a:pt x="4165" y="9262"/>
                </a:lnTo>
                <a:cubicBezTo>
                  <a:pt x="4129" y="9209"/>
                  <a:pt x="4092" y="9157"/>
                  <a:pt x="4056" y="9104"/>
                </a:cubicBezTo>
                <a:lnTo>
                  <a:pt x="3954" y="9104"/>
                </a:lnTo>
                <a:lnTo>
                  <a:pt x="4056" y="8366"/>
                </a:lnTo>
                <a:lnTo>
                  <a:pt x="3954" y="8058"/>
                </a:lnTo>
                <a:lnTo>
                  <a:pt x="3852" y="8058"/>
                </a:lnTo>
                <a:lnTo>
                  <a:pt x="3642" y="7759"/>
                </a:lnTo>
                <a:lnTo>
                  <a:pt x="3438" y="7759"/>
                </a:lnTo>
                <a:lnTo>
                  <a:pt x="2915" y="8058"/>
                </a:lnTo>
                <a:lnTo>
                  <a:pt x="2608" y="8058"/>
                </a:lnTo>
                <a:lnTo>
                  <a:pt x="2500" y="8207"/>
                </a:lnTo>
                <a:lnTo>
                  <a:pt x="2398" y="8058"/>
                </a:lnTo>
                <a:lnTo>
                  <a:pt x="2296" y="8058"/>
                </a:lnTo>
                <a:lnTo>
                  <a:pt x="1983" y="8058"/>
                </a:lnTo>
                <a:lnTo>
                  <a:pt x="1773" y="7918"/>
                </a:lnTo>
                <a:lnTo>
                  <a:pt x="1671" y="7759"/>
                </a:lnTo>
                <a:lnTo>
                  <a:pt x="1556" y="7759"/>
                </a:lnTo>
                <a:lnTo>
                  <a:pt x="1346" y="7470"/>
                </a:lnTo>
                <a:lnTo>
                  <a:pt x="1142" y="7470"/>
                </a:lnTo>
                <a:lnTo>
                  <a:pt x="829" y="7311"/>
                </a:lnTo>
                <a:lnTo>
                  <a:pt x="727" y="6863"/>
                </a:lnTo>
                <a:lnTo>
                  <a:pt x="931" y="6863"/>
                </a:lnTo>
                <a:lnTo>
                  <a:pt x="829" y="6573"/>
                </a:lnTo>
                <a:cubicBezTo>
                  <a:pt x="897" y="6470"/>
                  <a:pt x="966" y="6368"/>
                  <a:pt x="1034" y="6265"/>
                </a:cubicBezTo>
                <a:lnTo>
                  <a:pt x="1034" y="5966"/>
                </a:lnTo>
                <a:cubicBezTo>
                  <a:pt x="1000" y="5916"/>
                  <a:pt x="965" y="5867"/>
                  <a:pt x="931" y="5817"/>
                </a:cubicBezTo>
                <a:lnTo>
                  <a:pt x="673" y="5821"/>
                </a:lnTo>
                <a:cubicBezTo>
                  <a:pt x="615" y="5623"/>
                  <a:pt x="360" y="5739"/>
                  <a:pt x="302" y="5541"/>
                </a:cubicBezTo>
                <a:lnTo>
                  <a:pt x="102" y="5518"/>
                </a:lnTo>
                <a:lnTo>
                  <a:pt x="216" y="5243"/>
                </a:lnTo>
                <a:cubicBezTo>
                  <a:pt x="212" y="5185"/>
                  <a:pt x="208" y="5128"/>
                  <a:pt x="204" y="5070"/>
                </a:cubicBezTo>
                <a:lnTo>
                  <a:pt x="0" y="5070"/>
                </a:lnTo>
                <a:lnTo>
                  <a:pt x="0" y="4622"/>
                </a:lnTo>
                <a:lnTo>
                  <a:pt x="204" y="4482"/>
                </a:lnTo>
                <a:lnTo>
                  <a:pt x="415" y="4482"/>
                </a:lnTo>
                <a:lnTo>
                  <a:pt x="517" y="4332"/>
                </a:lnTo>
                <a:lnTo>
                  <a:pt x="727" y="4332"/>
                </a:lnTo>
                <a:lnTo>
                  <a:pt x="1034" y="4034"/>
                </a:lnTo>
                <a:lnTo>
                  <a:pt x="1142" y="3725"/>
                </a:lnTo>
                <a:lnTo>
                  <a:pt x="1034" y="3137"/>
                </a:lnTo>
                <a:lnTo>
                  <a:pt x="1034" y="2988"/>
                </a:lnTo>
                <a:lnTo>
                  <a:pt x="1346" y="2988"/>
                </a:lnTo>
                <a:lnTo>
                  <a:pt x="1454" y="2381"/>
                </a:lnTo>
                <a:lnTo>
                  <a:pt x="1773" y="2381"/>
                </a:lnTo>
                <a:lnTo>
                  <a:pt x="1881" y="2381"/>
                </a:lnTo>
                <a:lnTo>
                  <a:pt x="1983" y="1933"/>
                </a:lnTo>
                <a:lnTo>
                  <a:pt x="2085" y="1793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Freeform 155"/>
          <p:cNvSpPr>
            <a:spLocks/>
          </p:cNvSpPr>
          <p:nvPr/>
        </p:nvSpPr>
        <p:spPr bwMode="auto">
          <a:xfrm>
            <a:off x="4280150" y="4236095"/>
            <a:ext cx="115186" cy="52656"/>
          </a:xfrm>
          <a:custGeom>
            <a:avLst/>
            <a:gdLst>
              <a:gd name="T0" fmla="*/ 0 w 70"/>
              <a:gd name="T1" fmla="*/ 3175 h 32"/>
              <a:gd name="T2" fmla="*/ 0 w 70"/>
              <a:gd name="T3" fmla="*/ 3175 h 32"/>
              <a:gd name="T4" fmla="*/ 3175 w 70"/>
              <a:gd name="T5" fmla="*/ 6350 h 32"/>
              <a:gd name="T6" fmla="*/ 7144 w 70"/>
              <a:gd name="T7" fmla="*/ 6350 h 32"/>
              <a:gd name="T8" fmla="*/ 10319 w 70"/>
              <a:gd name="T9" fmla="*/ 3175 h 32"/>
              <a:gd name="T10" fmla="*/ 14288 w 70"/>
              <a:gd name="T11" fmla="*/ 0 h 32"/>
              <a:gd name="T12" fmla="*/ 0 w 70"/>
              <a:gd name="T13" fmla="*/ 3175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32"/>
              <a:gd name="T23" fmla="*/ 70 w 70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32">
                <a:moveTo>
                  <a:pt x="0" y="17"/>
                </a:moveTo>
                <a:lnTo>
                  <a:pt x="0" y="17"/>
                </a:lnTo>
                <a:lnTo>
                  <a:pt x="18" y="32"/>
                </a:lnTo>
                <a:lnTo>
                  <a:pt x="35" y="32"/>
                </a:lnTo>
                <a:lnTo>
                  <a:pt x="52" y="17"/>
                </a:lnTo>
                <a:lnTo>
                  <a:pt x="70" y="0"/>
                </a:lnTo>
                <a:lnTo>
                  <a:pt x="0" y="17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Freeform 157"/>
          <p:cNvSpPr>
            <a:spLocks/>
          </p:cNvSpPr>
          <p:nvPr/>
        </p:nvSpPr>
        <p:spPr bwMode="auto">
          <a:xfrm>
            <a:off x="10577476" y="4321303"/>
            <a:ext cx="431121" cy="342263"/>
          </a:xfrm>
          <a:custGeom>
            <a:avLst/>
            <a:gdLst>
              <a:gd name="T0" fmla="*/ 0 w 261"/>
              <a:gd name="T1" fmla="*/ 31750 h 208"/>
              <a:gd name="T2" fmla="*/ 0 w 261"/>
              <a:gd name="T3" fmla="*/ 31750 h 208"/>
              <a:gd name="T4" fmla="*/ 0 w 261"/>
              <a:gd name="T5" fmla="*/ 12700 h 208"/>
              <a:gd name="T6" fmla="*/ 0 w 261"/>
              <a:gd name="T7" fmla="*/ 0 h 208"/>
              <a:gd name="T8" fmla="*/ 14342 w 261"/>
              <a:gd name="T9" fmla="*/ 3175 h 208"/>
              <a:gd name="T10" fmla="*/ 24701 w 261"/>
              <a:gd name="T11" fmla="*/ 9525 h 208"/>
              <a:gd name="T12" fmla="*/ 24701 w 261"/>
              <a:gd name="T13" fmla="*/ 12700 h 208"/>
              <a:gd name="T14" fmla="*/ 38246 w 261"/>
              <a:gd name="T15" fmla="*/ 19050 h 208"/>
              <a:gd name="T16" fmla="*/ 31872 w 261"/>
              <a:gd name="T17" fmla="*/ 22225 h 208"/>
              <a:gd name="T18" fmla="*/ 35059 w 261"/>
              <a:gd name="T19" fmla="*/ 22225 h 208"/>
              <a:gd name="T20" fmla="*/ 38246 w 261"/>
              <a:gd name="T21" fmla="*/ 24606 h 208"/>
              <a:gd name="T22" fmla="*/ 42230 w 261"/>
              <a:gd name="T23" fmla="*/ 31750 h 208"/>
              <a:gd name="T24" fmla="*/ 45417 w 261"/>
              <a:gd name="T25" fmla="*/ 31750 h 208"/>
              <a:gd name="T26" fmla="*/ 45417 w 261"/>
              <a:gd name="T27" fmla="*/ 34925 h 208"/>
              <a:gd name="T28" fmla="*/ 52588 w 261"/>
              <a:gd name="T29" fmla="*/ 38100 h 208"/>
              <a:gd name="T30" fmla="*/ 52588 w 261"/>
              <a:gd name="T31" fmla="*/ 41275 h 208"/>
              <a:gd name="T32" fmla="*/ 35059 w 261"/>
              <a:gd name="T33" fmla="*/ 38100 h 208"/>
              <a:gd name="T34" fmla="*/ 27888 w 261"/>
              <a:gd name="T35" fmla="*/ 24606 h 208"/>
              <a:gd name="T36" fmla="*/ 20717 w 261"/>
              <a:gd name="T37" fmla="*/ 24606 h 208"/>
              <a:gd name="T38" fmla="*/ 17529 w 261"/>
              <a:gd name="T39" fmla="*/ 24606 h 208"/>
              <a:gd name="T40" fmla="*/ 10358 w 261"/>
              <a:gd name="T41" fmla="*/ 28575 h 208"/>
              <a:gd name="T42" fmla="*/ 14342 w 261"/>
              <a:gd name="T43" fmla="*/ 31750 h 208"/>
              <a:gd name="T44" fmla="*/ 7171 w 261"/>
              <a:gd name="T45" fmla="*/ 31750 h 208"/>
              <a:gd name="T46" fmla="*/ 0 w 261"/>
              <a:gd name="T47" fmla="*/ 31750 h 20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1"/>
              <a:gd name="T73" fmla="*/ 0 h 208"/>
              <a:gd name="T74" fmla="*/ 261 w 261"/>
              <a:gd name="T75" fmla="*/ 208 h 20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1" h="208">
                <a:moveTo>
                  <a:pt x="0" y="160"/>
                </a:moveTo>
                <a:lnTo>
                  <a:pt x="0" y="160"/>
                </a:lnTo>
                <a:lnTo>
                  <a:pt x="0" y="64"/>
                </a:lnTo>
                <a:lnTo>
                  <a:pt x="0" y="0"/>
                </a:lnTo>
                <a:lnTo>
                  <a:pt x="69" y="16"/>
                </a:lnTo>
                <a:lnTo>
                  <a:pt x="121" y="48"/>
                </a:lnTo>
                <a:lnTo>
                  <a:pt x="121" y="64"/>
                </a:lnTo>
                <a:lnTo>
                  <a:pt x="192" y="96"/>
                </a:lnTo>
                <a:lnTo>
                  <a:pt x="157" y="112"/>
                </a:lnTo>
                <a:lnTo>
                  <a:pt x="175" y="112"/>
                </a:lnTo>
                <a:lnTo>
                  <a:pt x="192" y="127"/>
                </a:lnTo>
                <a:lnTo>
                  <a:pt x="209" y="160"/>
                </a:lnTo>
                <a:lnTo>
                  <a:pt x="226" y="160"/>
                </a:lnTo>
                <a:lnTo>
                  <a:pt x="226" y="175"/>
                </a:lnTo>
                <a:lnTo>
                  <a:pt x="261" y="192"/>
                </a:lnTo>
                <a:lnTo>
                  <a:pt x="261" y="208"/>
                </a:lnTo>
                <a:lnTo>
                  <a:pt x="175" y="192"/>
                </a:lnTo>
                <a:lnTo>
                  <a:pt x="140" y="127"/>
                </a:lnTo>
                <a:lnTo>
                  <a:pt x="104" y="127"/>
                </a:lnTo>
                <a:lnTo>
                  <a:pt x="86" y="127"/>
                </a:lnTo>
                <a:lnTo>
                  <a:pt x="52" y="144"/>
                </a:lnTo>
                <a:lnTo>
                  <a:pt x="69" y="160"/>
                </a:lnTo>
                <a:lnTo>
                  <a:pt x="34" y="160"/>
                </a:lnTo>
                <a:lnTo>
                  <a:pt x="0" y="160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9" name="Freeform 158"/>
          <p:cNvSpPr>
            <a:spLocks/>
          </p:cNvSpPr>
          <p:nvPr/>
        </p:nvSpPr>
        <p:spPr bwMode="auto">
          <a:xfrm>
            <a:off x="10093699" y="4689893"/>
            <a:ext cx="55948" cy="26328"/>
          </a:xfrm>
          <a:custGeom>
            <a:avLst/>
            <a:gdLst>
              <a:gd name="T0" fmla="*/ 0 w 35"/>
              <a:gd name="T1" fmla="*/ 2988 h 17"/>
              <a:gd name="T2" fmla="*/ 0 w 35"/>
              <a:gd name="T3" fmla="*/ 2988 h 17"/>
              <a:gd name="T4" fmla="*/ 3084 w 35"/>
              <a:gd name="T5" fmla="*/ 2988 h 17"/>
              <a:gd name="T6" fmla="*/ 6169 w 35"/>
              <a:gd name="T7" fmla="*/ 0 h 17"/>
              <a:gd name="T8" fmla="*/ 0 w 35"/>
              <a:gd name="T9" fmla="*/ 0 h 17"/>
              <a:gd name="T10" fmla="*/ 0 w 35"/>
              <a:gd name="T11" fmla="*/ 2988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17"/>
              <a:gd name="T20" fmla="*/ 35 w 35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17">
                <a:moveTo>
                  <a:pt x="0" y="17"/>
                </a:moveTo>
                <a:lnTo>
                  <a:pt x="0" y="17"/>
                </a:lnTo>
                <a:lnTo>
                  <a:pt x="17" y="17"/>
                </a:lnTo>
                <a:lnTo>
                  <a:pt x="35" y="0"/>
                </a:lnTo>
                <a:lnTo>
                  <a:pt x="0" y="0"/>
                </a:lnTo>
                <a:lnTo>
                  <a:pt x="0" y="17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Freeform 159"/>
          <p:cNvSpPr>
            <a:spLocks/>
          </p:cNvSpPr>
          <p:nvPr/>
        </p:nvSpPr>
        <p:spPr bwMode="auto">
          <a:xfrm>
            <a:off x="9465119" y="4558253"/>
            <a:ext cx="342263" cy="26328"/>
          </a:xfrm>
          <a:custGeom>
            <a:avLst/>
            <a:gdLst>
              <a:gd name="T0" fmla="*/ 0 w 208"/>
              <a:gd name="T1" fmla="*/ 3175 h 16"/>
              <a:gd name="T2" fmla="*/ 0 w 208"/>
              <a:gd name="T3" fmla="*/ 3175 h 16"/>
              <a:gd name="T4" fmla="*/ 3969 w 208"/>
              <a:gd name="T5" fmla="*/ 3175 h 16"/>
              <a:gd name="T6" fmla="*/ 17463 w 208"/>
              <a:gd name="T7" fmla="*/ 0 h 16"/>
              <a:gd name="T8" fmla="*/ 30956 w 208"/>
              <a:gd name="T9" fmla="*/ 3175 h 16"/>
              <a:gd name="T10" fmla="*/ 41275 w 208"/>
              <a:gd name="T11" fmla="*/ 0 h 16"/>
              <a:gd name="T12" fmla="*/ 34925 w 208"/>
              <a:gd name="T13" fmla="*/ 0 h 16"/>
              <a:gd name="T14" fmla="*/ 23812 w 208"/>
              <a:gd name="T15" fmla="*/ 0 h 16"/>
              <a:gd name="T16" fmla="*/ 17463 w 208"/>
              <a:gd name="T17" fmla="*/ 0 h 16"/>
              <a:gd name="T18" fmla="*/ 7144 w 208"/>
              <a:gd name="T19" fmla="*/ 0 h 16"/>
              <a:gd name="T20" fmla="*/ 10319 w 208"/>
              <a:gd name="T21" fmla="*/ 0 h 16"/>
              <a:gd name="T22" fmla="*/ 0 w 208"/>
              <a:gd name="T23" fmla="*/ 0 h 16"/>
              <a:gd name="T24" fmla="*/ 0 w 208"/>
              <a:gd name="T25" fmla="*/ 3175 h 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8"/>
              <a:gd name="T40" fmla="*/ 0 h 16"/>
              <a:gd name="T41" fmla="*/ 208 w 208"/>
              <a:gd name="T42" fmla="*/ 16 h 1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8" h="16">
                <a:moveTo>
                  <a:pt x="0" y="16"/>
                </a:moveTo>
                <a:lnTo>
                  <a:pt x="0" y="16"/>
                </a:lnTo>
                <a:lnTo>
                  <a:pt x="17" y="16"/>
                </a:lnTo>
                <a:lnTo>
                  <a:pt x="87" y="0"/>
                </a:lnTo>
                <a:lnTo>
                  <a:pt x="156" y="16"/>
                </a:lnTo>
                <a:lnTo>
                  <a:pt x="208" y="0"/>
                </a:lnTo>
                <a:lnTo>
                  <a:pt x="173" y="0"/>
                </a:lnTo>
                <a:lnTo>
                  <a:pt x="121" y="0"/>
                </a:lnTo>
                <a:lnTo>
                  <a:pt x="87" y="0"/>
                </a:lnTo>
                <a:lnTo>
                  <a:pt x="35" y="0"/>
                </a:lnTo>
                <a:lnTo>
                  <a:pt x="52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Freeform 160"/>
          <p:cNvSpPr>
            <a:spLocks/>
          </p:cNvSpPr>
          <p:nvPr/>
        </p:nvSpPr>
        <p:spPr bwMode="auto">
          <a:xfrm>
            <a:off x="9583594" y="4610909"/>
            <a:ext cx="85566" cy="26328"/>
          </a:xfrm>
          <a:custGeom>
            <a:avLst/>
            <a:gdLst>
              <a:gd name="T0" fmla="*/ 0 w 52"/>
              <a:gd name="T1" fmla="*/ 0 h 17"/>
              <a:gd name="T2" fmla="*/ 0 w 52"/>
              <a:gd name="T3" fmla="*/ 0 h 17"/>
              <a:gd name="T4" fmla="*/ 7144 w 52"/>
              <a:gd name="T5" fmla="*/ 2988 h 17"/>
              <a:gd name="T6" fmla="*/ 10319 w 52"/>
              <a:gd name="T7" fmla="*/ 2988 h 17"/>
              <a:gd name="T8" fmla="*/ 7144 w 52"/>
              <a:gd name="T9" fmla="*/ 0 h 17"/>
              <a:gd name="T10" fmla="*/ 0 w 52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2"/>
              <a:gd name="T19" fmla="*/ 0 h 17"/>
              <a:gd name="T20" fmla="*/ 52 w 52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2" h="17">
                <a:moveTo>
                  <a:pt x="0" y="0"/>
                </a:moveTo>
                <a:lnTo>
                  <a:pt x="0" y="0"/>
                </a:lnTo>
                <a:lnTo>
                  <a:pt x="35" y="17"/>
                </a:lnTo>
                <a:lnTo>
                  <a:pt x="52" y="17"/>
                </a:lnTo>
                <a:lnTo>
                  <a:pt x="35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2" name="Freeform 161"/>
          <p:cNvSpPr>
            <a:spLocks/>
          </p:cNvSpPr>
          <p:nvPr/>
        </p:nvSpPr>
        <p:spPr bwMode="auto">
          <a:xfrm>
            <a:off x="9781053" y="4558253"/>
            <a:ext cx="171132" cy="78984"/>
          </a:xfrm>
          <a:custGeom>
            <a:avLst/>
            <a:gdLst>
              <a:gd name="T0" fmla="*/ 0 w 104"/>
              <a:gd name="T1" fmla="*/ 9525 h 48"/>
              <a:gd name="T2" fmla="*/ 0 w 104"/>
              <a:gd name="T3" fmla="*/ 9525 h 48"/>
              <a:gd name="T4" fmla="*/ 7144 w 104"/>
              <a:gd name="T5" fmla="*/ 9525 h 48"/>
              <a:gd name="T6" fmla="*/ 20638 w 104"/>
              <a:gd name="T7" fmla="*/ 0 h 48"/>
              <a:gd name="T8" fmla="*/ 10319 w 104"/>
              <a:gd name="T9" fmla="*/ 0 h 48"/>
              <a:gd name="T10" fmla="*/ 3969 w 104"/>
              <a:gd name="T11" fmla="*/ 5556 h 48"/>
              <a:gd name="T12" fmla="*/ 0 w 104"/>
              <a:gd name="T13" fmla="*/ 9525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4"/>
              <a:gd name="T22" fmla="*/ 0 h 48"/>
              <a:gd name="T23" fmla="*/ 104 w 104"/>
              <a:gd name="T24" fmla="*/ 48 h 4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4" h="48">
                <a:moveTo>
                  <a:pt x="0" y="48"/>
                </a:moveTo>
                <a:lnTo>
                  <a:pt x="0" y="48"/>
                </a:lnTo>
                <a:lnTo>
                  <a:pt x="35" y="48"/>
                </a:lnTo>
                <a:lnTo>
                  <a:pt x="104" y="0"/>
                </a:lnTo>
                <a:lnTo>
                  <a:pt x="52" y="0"/>
                </a:lnTo>
                <a:lnTo>
                  <a:pt x="17" y="31"/>
                </a:lnTo>
                <a:lnTo>
                  <a:pt x="0" y="48"/>
                </a:lnTo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Freeform 162"/>
          <p:cNvSpPr>
            <a:spLocks/>
          </p:cNvSpPr>
          <p:nvPr/>
        </p:nvSpPr>
        <p:spPr bwMode="auto">
          <a:xfrm>
            <a:off x="10264831" y="4426613"/>
            <a:ext cx="32910" cy="78984"/>
          </a:xfrm>
          <a:custGeom>
            <a:avLst/>
            <a:gdLst>
              <a:gd name="T0" fmla="*/ 0 w 19"/>
              <a:gd name="T1" fmla="*/ 9525 h 48"/>
              <a:gd name="T2" fmla="*/ 0 w 19"/>
              <a:gd name="T3" fmla="*/ 9525 h 48"/>
              <a:gd name="T4" fmla="*/ 4178 w 19"/>
              <a:gd name="T5" fmla="*/ 2381 h 48"/>
              <a:gd name="T6" fmla="*/ 4178 w 19"/>
              <a:gd name="T7" fmla="*/ 0 h 48"/>
              <a:gd name="T8" fmla="*/ 0 w 19"/>
              <a:gd name="T9" fmla="*/ 9525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48"/>
              <a:gd name="T17" fmla="*/ 19 w 19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48">
                <a:moveTo>
                  <a:pt x="0" y="48"/>
                </a:moveTo>
                <a:lnTo>
                  <a:pt x="0" y="48"/>
                </a:lnTo>
                <a:lnTo>
                  <a:pt x="19" y="15"/>
                </a:lnTo>
                <a:lnTo>
                  <a:pt x="19" y="0"/>
                </a:lnTo>
                <a:lnTo>
                  <a:pt x="0" y="48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Freeform 163"/>
          <p:cNvSpPr>
            <a:spLocks/>
          </p:cNvSpPr>
          <p:nvPr/>
        </p:nvSpPr>
        <p:spPr bwMode="auto">
          <a:xfrm>
            <a:off x="9583594" y="4137007"/>
            <a:ext cx="283026" cy="315935"/>
          </a:xfrm>
          <a:custGeom>
            <a:avLst/>
            <a:gdLst>
              <a:gd name="T0" fmla="*/ 0 w 173"/>
              <a:gd name="T1" fmla="*/ 22225 h 192"/>
              <a:gd name="T2" fmla="*/ 0 w 173"/>
              <a:gd name="T3" fmla="*/ 22225 h 192"/>
              <a:gd name="T4" fmla="*/ 0 w 173"/>
              <a:gd name="T5" fmla="*/ 26194 h 192"/>
              <a:gd name="T6" fmla="*/ 3157 w 173"/>
              <a:gd name="T7" fmla="*/ 26194 h 192"/>
              <a:gd name="T8" fmla="*/ 3157 w 173"/>
              <a:gd name="T9" fmla="*/ 28575 h 192"/>
              <a:gd name="T10" fmla="*/ 3157 w 173"/>
              <a:gd name="T11" fmla="*/ 38100 h 192"/>
              <a:gd name="T12" fmla="*/ 6313 w 173"/>
              <a:gd name="T13" fmla="*/ 35719 h 192"/>
              <a:gd name="T14" fmla="*/ 6313 w 173"/>
              <a:gd name="T15" fmla="*/ 26194 h 192"/>
              <a:gd name="T16" fmla="*/ 10259 w 173"/>
              <a:gd name="T17" fmla="*/ 22225 h 192"/>
              <a:gd name="T18" fmla="*/ 13416 w 173"/>
              <a:gd name="T19" fmla="*/ 22225 h 192"/>
              <a:gd name="T20" fmla="*/ 10259 w 173"/>
              <a:gd name="T21" fmla="*/ 26194 h 192"/>
              <a:gd name="T22" fmla="*/ 13416 w 173"/>
              <a:gd name="T23" fmla="*/ 28575 h 192"/>
              <a:gd name="T24" fmla="*/ 13416 w 173"/>
              <a:gd name="T25" fmla="*/ 32544 h 192"/>
              <a:gd name="T26" fmla="*/ 20518 w 173"/>
              <a:gd name="T27" fmla="*/ 32544 h 192"/>
              <a:gd name="T28" fmla="*/ 20518 w 173"/>
              <a:gd name="T29" fmla="*/ 38100 h 192"/>
              <a:gd name="T30" fmla="*/ 23675 w 173"/>
              <a:gd name="T31" fmla="*/ 35719 h 192"/>
              <a:gd name="T32" fmla="*/ 23675 w 173"/>
              <a:gd name="T33" fmla="*/ 32544 h 192"/>
              <a:gd name="T34" fmla="*/ 16572 w 173"/>
              <a:gd name="T35" fmla="*/ 26194 h 192"/>
              <a:gd name="T36" fmla="*/ 20518 w 173"/>
              <a:gd name="T37" fmla="*/ 26194 h 192"/>
              <a:gd name="T38" fmla="*/ 13416 w 173"/>
              <a:gd name="T39" fmla="*/ 19050 h 192"/>
              <a:gd name="T40" fmla="*/ 20518 w 173"/>
              <a:gd name="T41" fmla="*/ 13494 h 192"/>
              <a:gd name="T42" fmla="*/ 23675 w 173"/>
              <a:gd name="T43" fmla="*/ 13494 h 192"/>
              <a:gd name="T44" fmla="*/ 10259 w 173"/>
              <a:gd name="T45" fmla="*/ 16669 h 192"/>
              <a:gd name="T46" fmla="*/ 6313 w 173"/>
              <a:gd name="T47" fmla="*/ 13494 h 192"/>
              <a:gd name="T48" fmla="*/ 6313 w 173"/>
              <a:gd name="T49" fmla="*/ 9525 h 192"/>
              <a:gd name="T50" fmla="*/ 10259 w 173"/>
              <a:gd name="T51" fmla="*/ 7144 h 192"/>
              <a:gd name="T52" fmla="*/ 30777 w 173"/>
              <a:gd name="T53" fmla="*/ 7144 h 192"/>
              <a:gd name="T54" fmla="*/ 33934 w 173"/>
              <a:gd name="T55" fmla="*/ 0 h 192"/>
              <a:gd name="T56" fmla="*/ 26832 w 173"/>
              <a:gd name="T57" fmla="*/ 3969 h 192"/>
              <a:gd name="T58" fmla="*/ 20518 w 173"/>
              <a:gd name="T59" fmla="*/ 7144 h 192"/>
              <a:gd name="T60" fmla="*/ 10259 w 173"/>
              <a:gd name="T61" fmla="*/ 3969 h 192"/>
              <a:gd name="T62" fmla="*/ 10259 w 173"/>
              <a:gd name="T63" fmla="*/ 7144 h 192"/>
              <a:gd name="T64" fmla="*/ 6313 w 173"/>
              <a:gd name="T65" fmla="*/ 7144 h 192"/>
              <a:gd name="T66" fmla="*/ 6313 w 173"/>
              <a:gd name="T67" fmla="*/ 13494 h 192"/>
              <a:gd name="T68" fmla="*/ 0 w 173"/>
              <a:gd name="T69" fmla="*/ 22225 h 19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3"/>
              <a:gd name="T106" fmla="*/ 0 h 192"/>
              <a:gd name="T107" fmla="*/ 173 w 173"/>
              <a:gd name="T108" fmla="*/ 192 h 19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3" h="192">
                <a:moveTo>
                  <a:pt x="0" y="113"/>
                </a:moveTo>
                <a:lnTo>
                  <a:pt x="0" y="113"/>
                </a:lnTo>
                <a:lnTo>
                  <a:pt x="0" y="129"/>
                </a:lnTo>
                <a:lnTo>
                  <a:pt x="17" y="129"/>
                </a:lnTo>
                <a:lnTo>
                  <a:pt x="17" y="144"/>
                </a:lnTo>
                <a:lnTo>
                  <a:pt x="17" y="192"/>
                </a:lnTo>
                <a:lnTo>
                  <a:pt x="35" y="177"/>
                </a:lnTo>
                <a:lnTo>
                  <a:pt x="35" y="129"/>
                </a:lnTo>
                <a:lnTo>
                  <a:pt x="52" y="113"/>
                </a:lnTo>
                <a:lnTo>
                  <a:pt x="69" y="113"/>
                </a:lnTo>
                <a:lnTo>
                  <a:pt x="52" y="129"/>
                </a:lnTo>
                <a:lnTo>
                  <a:pt x="69" y="144"/>
                </a:lnTo>
                <a:lnTo>
                  <a:pt x="69" y="161"/>
                </a:lnTo>
                <a:lnTo>
                  <a:pt x="104" y="161"/>
                </a:lnTo>
                <a:lnTo>
                  <a:pt x="104" y="192"/>
                </a:lnTo>
                <a:lnTo>
                  <a:pt x="121" y="177"/>
                </a:lnTo>
                <a:lnTo>
                  <a:pt x="121" y="161"/>
                </a:lnTo>
                <a:lnTo>
                  <a:pt x="87" y="129"/>
                </a:lnTo>
                <a:lnTo>
                  <a:pt x="104" y="129"/>
                </a:lnTo>
                <a:lnTo>
                  <a:pt x="69" y="96"/>
                </a:lnTo>
                <a:lnTo>
                  <a:pt x="104" y="66"/>
                </a:lnTo>
                <a:lnTo>
                  <a:pt x="121" y="66"/>
                </a:lnTo>
                <a:lnTo>
                  <a:pt x="52" y="81"/>
                </a:lnTo>
                <a:lnTo>
                  <a:pt x="35" y="66"/>
                </a:lnTo>
                <a:lnTo>
                  <a:pt x="35" y="48"/>
                </a:lnTo>
                <a:lnTo>
                  <a:pt x="52" y="33"/>
                </a:lnTo>
                <a:lnTo>
                  <a:pt x="156" y="33"/>
                </a:lnTo>
                <a:lnTo>
                  <a:pt x="173" y="0"/>
                </a:lnTo>
                <a:lnTo>
                  <a:pt x="138" y="18"/>
                </a:lnTo>
                <a:lnTo>
                  <a:pt x="104" y="33"/>
                </a:lnTo>
                <a:lnTo>
                  <a:pt x="52" y="18"/>
                </a:lnTo>
                <a:lnTo>
                  <a:pt x="52" y="33"/>
                </a:lnTo>
                <a:lnTo>
                  <a:pt x="35" y="33"/>
                </a:lnTo>
                <a:lnTo>
                  <a:pt x="35" y="66"/>
                </a:lnTo>
                <a:lnTo>
                  <a:pt x="0" y="113"/>
                </a:lnTo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Freeform 164"/>
          <p:cNvSpPr>
            <a:spLocks/>
          </p:cNvSpPr>
          <p:nvPr/>
        </p:nvSpPr>
        <p:spPr bwMode="auto">
          <a:xfrm>
            <a:off x="9952186" y="4110678"/>
            <a:ext cx="55948" cy="131640"/>
          </a:xfrm>
          <a:custGeom>
            <a:avLst/>
            <a:gdLst>
              <a:gd name="T0" fmla="*/ 0 w 34"/>
              <a:gd name="T1" fmla="*/ 6272 h 81"/>
              <a:gd name="T2" fmla="*/ 0 w 34"/>
              <a:gd name="T3" fmla="*/ 6272 h 81"/>
              <a:gd name="T4" fmla="*/ 3175 w 34"/>
              <a:gd name="T5" fmla="*/ 11759 h 81"/>
              <a:gd name="T6" fmla="*/ 7144 w 34"/>
              <a:gd name="T7" fmla="*/ 15679 h 81"/>
              <a:gd name="T8" fmla="*/ 3175 w 34"/>
              <a:gd name="T9" fmla="*/ 11759 h 81"/>
              <a:gd name="T10" fmla="*/ 3175 w 34"/>
              <a:gd name="T11" fmla="*/ 9407 h 81"/>
              <a:gd name="T12" fmla="*/ 7144 w 34"/>
              <a:gd name="T13" fmla="*/ 9407 h 81"/>
              <a:gd name="T14" fmla="*/ 7144 w 34"/>
              <a:gd name="T15" fmla="*/ 6272 h 81"/>
              <a:gd name="T16" fmla="*/ 7144 w 34"/>
              <a:gd name="T17" fmla="*/ 2352 h 81"/>
              <a:gd name="T18" fmla="*/ 7144 w 34"/>
              <a:gd name="T19" fmla="*/ 6272 h 81"/>
              <a:gd name="T20" fmla="*/ 3175 w 34"/>
              <a:gd name="T21" fmla="*/ 0 h 81"/>
              <a:gd name="T22" fmla="*/ 0 w 34"/>
              <a:gd name="T23" fmla="*/ 6272 h 8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4"/>
              <a:gd name="T37" fmla="*/ 0 h 81"/>
              <a:gd name="T38" fmla="*/ 34 w 34"/>
              <a:gd name="T39" fmla="*/ 81 h 8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4" h="81">
                <a:moveTo>
                  <a:pt x="0" y="33"/>
                </a:moveTo>
                <a:lnTo>
                  <a:pt x="0" y="33"/>
                </a:lnTo>
                <a:lnTo>
                  <a:pt x="17" y="63"/>
                </a:lnTo>
                <a:lnTo>
                  <a:pt x="34" y="81"/>
                </a:lnTo>
                <a:lnTo>
                  <a:pt x="17" y="63"/>
                </a:lnTo>
                <a:lnTo>
                  <a:pt x="17" y="48"/>
                </a:lnTo>
                <a:lnTo>
                  <a:pt x="34" y="48"/>
                </a:lnTo>
                <a:lnTo>
                  <a:pt x="34" y="33"/>
                </a:lnTo>
                <a:lnTo>
                  <a:pt x="34" y="15"/>
                </a:lnTo>
                <a:lnTo>
                  <a:pt x="34" y="33"/>
                </a:lnTo>
                <a:lnTo>
                  <a:pt x="17" y="0"/>
                </a:lnTo>
                <a:lnTo>
                  <a:pt x="0" y="33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Freeform 165"/>
          <p:cNvSpPr>
            <a:spLocks/>
          </p:cNvSpPr>
          <p:nvPr/>
        </p:nvSpPr>
        <p:spPr bwMode="auto">
          <a:xfrm>
            <a:off x="9896240" y="4347630"/>
            <a:ext cx="55948" cy="26328"/>
          </a:xfrm>
          <a:custGeom>
            <a:avLst/>
            <a:gdLst>
              <a:gd name="T0" fmla="*/ 0 w 35"/>
              <a:gd name="T1" fmla="*/ 0 h 15"/>
              <a:gd name="T2" fmla="*/ 0 w 35"/>
              <a:gd name="T3" fmla="*/ 0 h 15"/>
              <a:gd name="T4" fmla="*/ 6169 w 35"/>
              <a:gd name="T5" fmla="*/ 3387 h 15"/>
              <a:gd name="T6" fmla="*/ 6169 w 35"/>
              <a:gd name="T7" fmla="*/ 0 h 15"/>
              <a:gd name="T8" fmla="*/ 0 w 35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"/>
              <a:gd name="T16" fmla="*/ 0 h 15"/>
              <a:gd name="T17" fmla="*/ 35 w 35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" h="15">
                <a:moveTo>
                  <a:pt x="0" y="0"/>
                </a:moveTo>
                <a:lnTo>
                  <a:pt x="0" y="0"/>
                </a:lnTo>
                <a:lnTo>
                  <a:pt x="35" y="15"/>
                </a:lnTo>
                <a:lnTo>
                  <a:pt x="35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Freeform 166"/>
          <p:cNvSpPr>
            <a:spLocks/>
          </p:cNvSpPr>
          <p:nvPr/>
        </p:nvSpPr>
        <p:spPr bwMode="auto">
          <a:xfrm>
            <a:off x="9981806" y="4321302"/>
            <a:ext cx="141514" cy="52656"/>
          </a:xfrm>
          <a:custGeom>
            <a:avLst/>
            <a:gdLst>
              <a:gd name="T0" fmla="*/ 0 w 86"/>
              <a:gd name="T1" fmla="*/ 3277 h 31"/>
              <a:gd name="T2" fmla="*/ 0 w 86"/>
              <a:gd name="T3" fmla="*/ 3277 h 31"/>
              <a:gd name="T4" fmla="*/ 17463 w 86"/>
              <a:gd name="T5" fmla="*/ 6555 h 31"/>
              <a:gd name="T6" fmla="*/ 14288 w 86"/>
              <a:gd name="T7" fmla="*/ 3277 h 31"/>
              <a:gd name="T8" fmla="*/ 10319 w 86"/>
              <a:gd name="T9" fmla="*/ 0 h 31"/>
              <a:gd name="T10" fmla="*/ 3969 w 86"/>
              <a:gd name="T11" fmla="*/ 0 h 31"/>
              <a:gd name="T12" fmla="*/ 0 w 86"/>
              <a:gd name="T13" fmla="*/ 3277 h 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6"/>
              <a:gd name="T22" fmla="*/ 0 h 31"/>
              <a:gd name="T23" fmla="*/ 86 w 86"/>
              <a:gd name="T24" fmla="*/ 31 h 3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6" h="31">
                <a:moveTo>
                  <a:pt x="0" y="16"/>
                </a:moveTo>
                <a:lnTo>
                  <a:pt x="0" y="16"/>
                </a:lnTo>
                <a:lnTo>
                  <a:pt x="86" y="31"/>
                </a:lnTo>
                <a:lnTo>
                  <a:pt x="69" y="16"/>
                </a:lnTo>
                <a:lnTo>
                  <a:pt x="52" y="0"/>
                </a:lnTo>
                <a:lnTo>
                  <a:pt x="17" y="0"/>
                </a:lnTo>
                <a:lnTo>
                  <a:pt x="0" y="16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Freeform 167"/>
          <p:cNvSpPr>
            <a:spLocks/>
          </p:cNvSpPr>
          <p:nvPr/>
        </p:nvSpPr>
        <p:spPr bwMode="auto">
          <a:xfrm>
            <a:off x="9952186" y="4268646"/>
            <a:ext cx="55948" cy="0"/>
          </a:xfrm>
          <a:custGeom>
            <a:avLst/>
            <a:gdLst>
              <a:gd name="T0" fmla="*/ 0 w 34"/>
              <a:gd name="T1" fmla="*/ 0 w 34"/>
              <a:gd name="T2" fmla="*/ 7144 w 34"/>
              <a:gd name="T3" fmla="*/ 3175 w 34"/>
              <a:gd name="T4" fmla="*/ 0 w 34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w 34"/>
              <a:gd name="T11" fmla="*/ 34 w 34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T10" t="0" r="T11" b="0"/>
            <a:pathLst>
              <a:path w="34">
                <a:moveTo>
                  <a:pt x="0" y="0"/>
                </a:moveTo>
                <a:lnTo>
                  <a:pt x="0" y="0"/>
                </a:lnTo>
                <a:lnTo>
                  <a:pt x="34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Freeform 168"/>
          <p:cNvSpPr>
            <a:spLocks/>
          </p:cNvSpPr>
          <p:nvPr/>
        </p:nvSpPr>
        <p:spPr bwMode="auto">
          <a:xfrm>
            <a:off x="10320778" y="4242318"/>
            <a:ext cx="29620" cy="26328"/>
          </a:xfrm>
          <a:custGeom>
            <a:avLst/>
            <a:gdLst>
              <a:gd name="T0" fmla="*/ 0 w 18"/>
              <a:gd name="T1" fmla="*/ 0 h 15"/>
              <a:gd name="T2" fmla="*/ 0 w 18"/>
              <a:gd name="T3" fmla="*/ 0 h 15"/>
              <a:gd name="T4" fmla="*/ 3969 w 18"/>
              <a:gd name="T5" fmla="*/ 3387 h 15"/>
              <a:gd name="T6" fmla="*/ 3969 w 18"/>
              <a:gd name="T7" fmla="*/ 0 h 15"/>
              <a:gd name="T8" fmla="*/ 0 w 18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5"/>
              <a:gd name="T17" fmla="*/ 18 w 18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5">
                <a:moveTo>
                  <a:pt x="0" y="0"/>
                </a:moveTo>
                <a:lnTo>
                  <a:pt x="0" y="0"/>
                </a:lnTo>
                <a:lnTo>
                  <a:pt x="18" y="15"/>
                </a:lnTo>
                <a:lnTo>
                  <a:pt x="18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Freeform 169"/>
          <p:cNvSpPr>
            <a:spLocks/>
          </p:cNvSpPr>
          <p:nvPr/>
        </p:nvSpPr>
        <p:spPr bwMode="auto">
          <a:xfrm>
            <a:off x="12414121" y="4373957"/>
            <a:ext cx="200751" cy="105312"/>
          </a:xfrm>
          <a:custGeom>
            <a:avLst/>
            <a:gdLst>
              <a:gd name="T0" fmla="*/ 0 w 123"/>
              <a:gd name="T1" fmla="*/ 6252 h 65"/>
              <a:gd name="T2" fmla="*/ 0 w 123"/>
              <a:gd name="T3" fmla="*/ 6252 h 65"/>
              <a:gd name="T4" fmla="*/ 6298 w 123"/>
              <a:gd name="T5" fmla="*/ 12505 h 65"/>
              <a:gd name="T6" fmla="*/ 13384 w 123"/>
              <a:gd name="T7" fmla="*/ 12505 h 65"/>
              <a:gd name="T8" fmla="*/ 20470 w 123"/>
              <a:gd name="T9" fmla="*/ 9378 h 65"/>
              <a:gd name="T10" fmla="*/ 23619 w 123"/>
              <a:gd name="T11" fmla="*/ 3126 h 65"/>
              <a:gd name="T12" fmla="*/ 23619 w 123"/>
              <a:gd name="T13" fmla="*/ 0 h 65"/>
              <a:gd name="T14" fmla="*/ 20470 w 123"/>
              <a:gd name="T15" fmla="*/ 0 h 65"/>
              <a:gd name="T16" fmla="*/ 20470 w 123"/>
              <a:gd name="T17" fmla="*/ 6252 h 65"/>
              <a:gd name="T18" fmla="*/ 17321 w 123"/>
              <a:gd name="T19" fmla="*/ 6252 h 65"/>
              <a:gd name="T20" fmla="*/ 13384 w 123"/>
              <a:gd name="T21" fmla="*/ 6252 h 65"/>
              <a:gd name="T22" fmla="*/ 0 w 123"/>
              <a:gd name="T23" fmla="*/ 6252 h 6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3"/>
              <a:gd name="T37" fmla="*/ 0 h 65"/>
              <a:gd name="T38" fmla="*/ 123 w 123"/>
              <a:gd name="T39" fmla="*/ 65 h 6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3" h="65">
                <a:moveTo>
                  <a:pt x="0" y="33"/>
                </a:moveTo>
                <a:lnTo>
                  <a:pt x="0" y="33"/>
                </a:lnTo>
                <a:lnTo>
                  <a:pt x="35" y="65"/>
                </a:lnTo>
                <a:lnTo>
                  <a:pt x="71" y="65"/>
                </a:lnTo>
                <a:lnTo>
                  <a:pt x="106" y="48"/>
                </a:lnTo>
                <a:lnTo>
                  <a:pt x="123" y="17"/>
                </a:lnTo>
                <a:lnTo>
                  <a:pt x="123" y="0"/>
                </a:lnTo>
                <a:lnTo>
                  <a:pt x="106" y="0"/>
                </a:lnTo>
                <a:lnTo>
                  <a:pt x="106" y="33"/>
                </a:lnTo>
                <a:lnTo>
                  <a:pt x="88" y="33"/>
                </a:lnTo>
                <a:lnTo>
                  <a:pt x="71" y="33"/>
                </a:lnTo>
                <a:lnTo>
                  <a:pt x="0" y="33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Freeform 170"/>
          <p:cNvSpPr>
            <a:spLocks/>
          </p:cNvSpPr>
          <p:nvPr/>
        </p:nvSpPr>
        <p:spPr bwMode="auto">
          <a:xfrm>
            <a:off x="12558924" y="4347630"/>
            <a:ext cx="85566" cy="52656"/>
          </a:xfrm>
          <a:custGeom>
            <a:avLst/>
            <a:gdLst>
              <a:gd name="T0" fmla="*/ 0 w 52"/>
              <a:gd name="T1" fmla="*/ 0 h 32"/>
              <a:gd name="T2" fmla="*/ 0 w 52"/>
              <a:gd name="T3" fmla="*/ 0 h 32"/>
              <a:gd name="T4" fmla="*/ 7144 w 52"/>
              <a:gd name="T5" fmla="*/ 2381 h 32"/>
              <a:gd name="T6" fmla="*/ 10319 w 52"/>
              <a:gd name="T7" fmla="*/ 6350 h 32"/>
              <a:gd name="T8" fmla="*/ 10319 w 52"/>
              <a:gd name="T9" fmla="*/ 2381 h 32"/>
              <a:gd name="T10" fmla="*/ 0 w 52"/>
              <a:gd name="T11" fmla="*/ 0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2"/>
              <a:gd name="T19" fmla="*/ 0 h 32"/>
              <a:gd name="T20" fmla="*/ 52 w 52"/>
              <a:gd name="T21" fmla="*/ 32 h 3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2" h="32">
                <a:moveTo>
                  <a:pt x="0" y="0"/>
                </a:moveTo>
                <a:lnTo>
                  <a:pt x="0" y="0"/>
                </a:lnTo>
                <a:lnTo>
                  <a:pt x="35" y="15"/>
                </a:lnTo>
                <a:lnTo>
                  <a:pt x="52" y="32"/>
                </a:lnTo>
                <a:lnTo>
                  <a:pt x="52" y="15"/>
                </a:lnTo>
                <a:lnTo>
                  <a:pt x="0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Freeform 171"/>
          <p:cNvSpPr>
            <a:spLocks/>
          </p:cNvSpPr>
          <p:nvPr/>
        </p:nvSpPr>
        <p:spPr bwMode="auto">
          <a:xfrm>
            <a:off x="12730056" y="4426613"/>
            <a:ext cx="55948" cy="78984"/>
          </a:xfrm>
          <a:custGeom>
            <a:avLst/>
            <a:gdLst>
              <a:gd name="T0" fmla="*/ 0 w 35"/>
              <a:gd name="T1" fmla="*/ 0 h 48"/>
              <a:gd name="T2" fmla="*/ 0 w 35"/>
              <a:gd name="T3" fmla="*/ 0 h 48"/>
              <a:gd name="T4" fmla="*/ 3084 w 35"/>
              <a:gd name="T5" fmla="*/ 9525 h 48"/>
              <a:gd name="T6" fmla="*/ 6169 w 35"/>
              <a:gd name="T7" fmla="*/ 6350 h 48"/>
              <a:gd name="T8" fmla="*/ 0 w 35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"/>
              <a:gd name="T16" fmla="*/ 0 h 48"/>
              <a:gd name="T17" fmla="*/ 35 w 35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" h="48">
                <a:moveTo>
                  <a:pt x="0" y="0"/>
                </a:moveTo>
                <a:lnTo>
                  <a:pt x="0" y="0"/>
                </a:lnTo>
                <a:lnTo>
                  <a:pt x="17" y="48"/>
                </a:lnTo>
                <a:lnTo>
                  <a:pt x="35" y="32"/>
                </a:lnTo>
                <a:lnTo>
                  <a:pt x="0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Freeform 172"/>
          <p:cNvSpPr>
            <a:spLocks/>
          </p:cNvSpPr>
          <p:nvPr/>
        </p:nvSpPr>
        <p:spPr bwMode="auto">
          <a:xfrm>
            <a:off x="12927516" y="4584581"/>
            <a:ext cx="59238" cy="26328"/>
          </a:xfrm>
          <a:custGeom>
            <a:avLst/>
            <a:gdLst>
              <a:gd name="T0" fmla="*/ 0 w 34"/>
              <a:gd name="T1" fmla="*/ 0 h 15"/>
              <a:gd name="T2" fmla="*/ 0 w 34"/>
              <a:gd name="T3" fmla="*/ 0 h 15"/>
              <a:gd name="T4" fmla="*/ 0 w 34"/>
              <a:gd name="T5" fmla="*/ 3387 h 15"/>
              <a:gd name="T6" fmla="*/ 8404 w 34"/>
              <a:gd name="T7" fmla="*/ 3387 h 15"/>
              <a:gd name="T8" fmla="*/ 0 w 34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"/>
              <a:gd name="T16" fmla="*/ 0 h 15"/>
              <a:gd name="T17" fmla="*/ 34 w 34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" h="15">
                <a:moveTo>
                  <a:pt x="0" y="0"/>
                </a:moveTo>
                <a:lnTo>
                  <a:pt x="0" y="0"/>
                </a:lnTo>
                <a:lnTo>
                  <a:pt x="0" y="15"/>
                </a:lnTo>
                <a:lnTo>
                  <a:pt x="34" y="15"/>
                </a:lnTo>
                <a:lnTo>
                  <a:pt x="0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" name="Freeform 173"/>
          <p:cNvSpPr>
            <a:spLocks/>
          </p:cNvSpPr>
          <p:nvPr/>
        </p:nvSpPr>
        <p:spPr bwMode="auto">
          <a:xfrm>
            <a:off x="13269780" y="4821533"/>
            <a:ext cx="29620" cy="52656"/>
          </a:xfrm>
          <a:custGeom>
            <a:avLst/>
            <a:gdLst>
              <a:gd name="T0" fmla="*/ 0 w 18"/>
              <a:gd name="T1" fmla="*/ 0 h 32"/>
              <a:gd name="T2" fmla="*/ 0 w 18"/>
              <a:gd name="T3" fmla="*/ 0 h 32"/>
              <a:gd name="T4" fmla="*/ 0 w 18"/>
              <a:gd name="T5" fmla="*/ 6350 h 32"/>
              <a:gd name="T6" fmla="*/ 3969 w 18"/>
              <a:gd name="T7" fmla="*/ 2381 h 32"/>
              <a:gd name="T8" fmla="*/ 0 w 18"/>
              <a:gd name="T9" fmla="*/ 0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32"/>
              <a:gd name="T17" fmla="*/ 18 w 18"/>
              <a:gd name="T18" fmla="*/ 32 h 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32">
                <a:moveTo>
                  <a:pt x="0" y="0"/>
                </a:moveTo>
                <a:lnTo>
                  <a:pt x="0" y="0"/>
                </a:lnTo>
                <a:lnTo>
                  <a:pt x="0" y="32"/>
                </a:lnTo>
                <a:lnTo>
                  <a:pt x="18" y="15"/>
                </a:lnTo>
                <a:lnTo>
                  <a:pt x="0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5" name="Line 120"/>
          <p:cNvSpPr>
            <a:spLocks noChangeShapeType="1"/>
          </p:cNvSpPr>
          <p:nvPr/>
        </p:nvSpPr>
        <p:spPr bwMode="auto">
          <a:xfrm flipV="1">
            <a:off x="10139773" y="4518762"/>
            <a:ext cx="26328" cy="78984"/>
          </a:xfrm>
          <a:prstGeom prst="line">
            <a:avLst/>
          </a:pr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6" name="Line 121"/>
          <p:cNvSpPr>
            <a:spLocks noChangeShapeType="1"/>
          </p:cNvSpPr>
          <p:nvPr/>
        </p:nvSpPr>
        <p:spPr bwMode="auto">
          <a:xfrm>
            <a:off x="12799166" y="4518762"/>
            <a:ext cx="59238" cy="26328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7" name="Line 122"/>
          <p:cNvSpPr>
            <a:spLocks noChangeShapeType="1"/>
          </p:cNvSpPr>
          <p:nvPr/>
        </p:nvSpPr>
        <p:spPr bwMode="auto">
          <a:xfrm>
            <a:off x="12858404" y="4571417"/>
            <a:ext cx="26328" cy="26328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Line 123"/>
          <p:cNvSpPr>
            <a:spLocks noChangeShapeType="1"/>
          </p:cNvSpPr>
          <p:nvPr/>
        </p:nvSpPr>
        <p:spPr bwMode="auto">
          <a:xfrm>
            <a:off x="13003208" y="4597745"/>
            <a:ext cx="26328" cy="52656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9" name="Line 124"/>
          <p:cNvSpPr>
            <a:spLocks noChangeShapeType="1"/>
          </p:cNvSpPr>
          <p:nvPr/>
        </p:nvSpPr>
        <p:spPr bwMode="auto">
          <a:xfrm>
            <a:off x="13029536" y="4676729"/>
            <a:ext cx="55948" cy="26328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0" name="Freeform 179"/>
          <p:cNvSpPr>
            <a:spLocks/>
          </p:cNvSpPr>
          <p:nvPr/>
        </p:nvSpPr>
        <p:spPr bwMode="auto">
          <a:xfrm>
            <a:off x="9152475" y="3926384"/>
            <a:ext cx="457449" cy="236951"/>
          </a:xfrm>
          <a:custGeom>
            <a:avLst/>
            <a:gdLst>
              <a:gd name="T0" fmla="*/ 30956 w 278"/>
              <a:gd name="T1" fmla="*/ 9525 h 144"/>
              <a:gd name="T2" fmla="*/ 30956 w 278"/>
              <a:gd name="T3" fmla="*/ 9525 h 144"/>
              <a:gd name="T4" fmla="*/ 34131 w 278"/>
              <a:gd name="T5" fmla="*/ 9525 h 144"/>
              <a:gd name="T6" fmla="*/ 30956 w 278"/>
              <a:gd name="T7" fmla="*/ 11906 h 144"/>
              <a:gd name="T8" fmla="*/ 27781 w 278"/>
              <a:gd name="T9" fmla="*/ 11906 h 144"/>
              <a:gd name="T10" fmla="*/ 23813 w 278"/>
              <a:gd name="T11" fmla="*/ 11906 h 144"/>
              <a:gd name="T12" fmla="*/ 17463 w 278"/>
              <a:gd name="T13" fmla="*/ 19050 h 144"/>
              <a:gd name="T14" fmla="*/ 10319 w 278"/>
              <a:gd name="T15" fmla="*/ 19050 h 144"/>
              <a:gd name="T16" fmla="*/ 10319 w 278"/>
              <a:gd name="T17" fmla="*/ 24606 h 144"/>
              <a:gd name="T18" fmla="*/ 0 w 278"/>
              <a:gd name="T19" fmla="*/ 24606 h 144"/>
              <a:gd name="T20" fmla="*/ 7144 w 278"/>
              <a:gd name="T21" fmla="*/ 28575 h 144"/>
              <a:gd name="T22" fmla="*/ 13494 w 278"/>
              <a:gd name="T23" fmla="*/ 28575 h 144"/>
              <a:gd name="T24" fmla="*/ 17463 w 278"/>
              <a:gd name="T25" fmla="*/ 24606 h 144"/>
              <a:gd name="T26" fmla="*/ 23813 w 278"/>
              <a:gd name="T27" fmla="*/ 28575 h 144"/>
              <a:gd name="T28" fmla="*/ 27781 w 278"/>
              <a:gd name="T29" fmla="*/ 24606 h 144"/>
              <a:gd name="T30" fmla="*/ 38100 w 278"/>
              <a:gd name="T31" fmla="*/ 11906 h 144"/>
              <a:gd name="T32" fmla="*/ 48419 w 278"/>
              <a:gd name="T33" fmla="*/ 11906 h 144"/>
              <a:gd name="T34" fmla="*/ 52388 w 278"/>
              <a:gd name="T35" fmla="*/ 11906 h 144"/>
              <a:gd name="T36" fmla="*/ 48419 w 278"/>
              <a:gd name="T37" fmla="*/ 9525 h 144"/>
              <a:gd name="T38" fmla="*/ 55563 w 278"/>
              <a:gd name="T39" fmla="*/ 9525 h 144"/>
              <a:gd name="T40" fmla="*/ 44450 w 278"/>
              <a:gd name="T41" fmla="*/ 5556 h 144"/>
              <a:gd name="T42" fmla="*/ 44450 w 278"/>
              <a:gd name="T43" fmla="*/ 2381 h 144"/>
              <a:gd name="T44" fmla="*/ 41275 w 278"/>
              <a:gd name="T45" fmla="*/ 0 h 144"/>
              <a:gd name="T46" fmla="*/ 34131 w 278"/>
              <a:gd name="T47" fmla="*/ 5556 h 144"/>
              <a:gd name="T48" fmla="*/ 30956 w 278"/>
              <a:gd name="T49" fmla="*/ 9525 h 1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78"/>
              <a:gd name="T76" fmla="*/ 0 h 144"/>
              <a:gd name="T77" fmla="*/ 278 w 278"/>
              <a:gd name="T78" fmla="*/ 144 h 14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78" h="144">
                <a:moveTo>
                  <a:pt x="158" y="48"/>
                </a:moveTo>
                <a:lnTo>
                  <a:pt x="158" y="48"/>
                </a:lnTo>
                <a:lnTo>
                  <a:pt x="175" y="48"/>
                </a:lnTo>
                <a:lnTo>
                  <a:pt x="158" y="63"/>
                </a:lnTo>
                <a:lnTo>
                  <a:pt x="140" y="63"/>
                </a:lnTo>
                <a:lnTo>
                  <a:pt x="123" y="63"/>
                </a:lnTo>
                <a:lnTo>
                  <a:pt x="88" y="96"/>
                </a:lnTo>
                <a:lnTo>
                  <a:pt x="52" y="96"/>
                </a:lnTo>
                <a:lnTo>
                  <a:pt x="52" y="126"/>
                </a:lnTo>
                <a:lnTo>
                  <a:pt x="0" y="126"/>
                </a:lnTo>
                <a:lnTo>
                  <a:pt x="35" y="144"/>
                </a:lnTo>
                <a:lnTo>
                  <a:pt x="69" y="144"/>
                </a:lnTo>
                <a:lnTo>
                  <a:pt x="88" y="126"/>
                </a:lnTo>
                <a:lnTo>
                  <a:pt x="123" y="144"/>
                </a:lnTo>
                <a:lnTo>
                  <a:pt x="140" y="126"/>
                </a:lnTo>
                <a:lnTo>
                  <a:pt x="192" y="63"/>
                </a:lnTo>
                <a:lnTo>
                  <a:pt x="244" y="63"/>
                </a:lnTo>
                <a:lnTo>
                  <a:pt x="261" y="63"/>
                </a:lnTo>
                <a:lnTo>
                  <a:pt x="244" y="48"/>
                </a:lnTo>
                <a:lnTo>
                  <a:pt x="278" y="48"/>
                </a:lnTo>
                <a:lnTo>
                  <a:pt x="227" y="30"/>
                </a:lnTo>
                <a:lnTo>
                  <a:pt x="227" y="15"/>
                </a:lnTo>
                <a:lnTo>
                  <a:pt x="209" y="0"/>
                </a:lnTo>
                <a:lnTo>
                  <a:pt x="175" y="30"/>
                </a:lnTo>
                <a:lnTo>
                  <a:pt x="158" y="48"/>
                </a:lnTo>
              </a:path>
            </a:pathLst>
          </a:custGeom>
          <a:solidFill>
            <a:srgbClr val="D8CEB8"/>
          </a:solidFill>
          <a:ln w="9525">
            <a:solidFill>
              <a:schemeClr val="bg2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1" name="Freeform 180"/>
          <p:cNvSpPr>
            <a:spLocks/>
          </p:cNvSpPr>
          <p:nvPr/>
        </p:nvSpPr>
        <p:spPr bwMode="auto">
          <a:xfrm>
            <a:off x="9353225" y="4005366"/>
            <a:ext cx="85566" cy="26328"/>
          </a:xfrm>
          <a:custGeom>
            <a:avLst/>
            <a:gdLst>
              <a:gd name="T0" fmla="*/ 0 w 52"/>
              <a:gd name="T1" fmla="*/ 3387 h 15"/>
              <a:gd name="T2" fmla="*/ 0 w 52"/>
              <a:gd name="T3" fmla="*/ 3387 h 15"/>
              <a:gd name="T4" fmla="*/ 3969 w 52"/>
              <a:gd name="T5" fmla="*/ 3387 h 15"/>
              <a:gd name="T6" fmla="*/ 7144 w 52"/>
              <a:gd name="T7" fmla="*/ 3387 h 15"/>
              <a:gd name="T8" fmla="*/ 10319 w 52"/>
              <a:gd name="T9" fmla="*/ 0 h 15"/>
              <a:gd name="T10" fmla="*/ 7144 w 52"/>
              <a:gd name="T11" fmla="*/ 0 h 15"/>
              <a:gd name="T12" fmla="*/ 0 w 52"/>
              <a:gd name="T13" fmla="*/ 3387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"/>
              <a:gd name="T22" fmla="*/ 0 h 15"/>
              <a:gd name="T23" fmla="*/ 52 w 52"/>
              <a:gd name="T24" fmla="*/ 15 h 1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" h="15">
                <a:moveTo>
                  <a:pt x="0" y="15"/>
                </a:moveTo>
                <a:lnTo>
                  <a:pt x="0" y="15"/>
                </a:lnTo>
                <a:lnTo>
                  <a:pt x="17" y="15"/>
                </a:lnTo>
                <a:lnTo>
                  <a:pt x="35" y="15"/>
                </a:lnTo>
                <a:lnTo>
                  <a:pt x="52" y="0"/>
                </a:lnTo>
                <a:lnTo>
                  <a:pt x="35" y="0"/>
                </a:lnTo>
                <a:lnTo>
                  <a:pt x="0" y="15"/>
                </a:lnTo>
              </a:path>
            </a:pathLst>
          </a:custGeom>
          <a:solidFill>
            <a:srgbClr val="D8CEB8"/>
          </a:solidFill>
          <a:ln w="19050">
            <a:solidFill>
              <a:schemeClr val="bg2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2" name="Freeform 181"/>
          <p:cNvSpPr>
            <a:spLocks/>
          </p:cNvSpPr>
          <p:nvPr/>
        </p:nvSpPr>
        <p:spPr bwMode="auto">
          <a:xfrm>
            <a:off x="9122856" y="4031695"/>
            <a:ext cx="460739" cy="342263"/>
          </a:xfrm>
          <a:custGeom>
            <a:avLst/>
            <a:gdLst>
              <a:gd name="T0" fmla="*/ 3997 w 278"/>
              <a:gd name="T1" fmla="*/ 12761 h 207"/>
              <a:gd name="T2" fmla="*/ 3997 w 278"/>
              <a:gd name="T3" fmla="*/ 12761 h 207"/>
              <a:gd name="T4" fmla="*/ 10393 w 278"/>
              <a:gd name="T5" fmla="*/ 16749 h 207"/>
              <a:gd name="T6" fmla="*/ 17588 w 278"/>
              <a:gd name="T7" fmla="*/ 16749 h 207"/>
              <a:gd name="T8" fmla="*/ 20786 w 278"/>
              <a:gd name="T9" fmla="*/ 12761 h 207"/>
              <a:gd name="T10" fmla="*/ 27981 w 278"/>
              <a:gd name="T11" fmla="*/ 16749 h 207"/>
              <a:gd name="T12" fmla="*/ 31179 w 278"/>
              <a:gd name="T13" fmla="*/ 12761 h 207"/>
              <a:gd name="T14" fmla="*/ 41572 w 278"/>
              <a:gd name="T15" fmla="*/ 0 h 207"/>
              <a:gd name="T16" fmla="*/ 52764 w 278"/>
              <a:gd name="T17" fmla="*/ 0 h 207"/>
              <a:gd name="T18" fmla="*/ 49567 w 278"/>
              <a:gd name="T19" fmla="*/ 7178 h 207"/>
              <a:gd name="T20" fmla="*/ 52764 w 278"/>
              <a:gd name="T21" fmla="*/ 9571 h 207"/>
              <a:gd name="T22" fmla="*/ 49567 w 278"/>
              <a:gd name="T23" fmla="*/ 12761 h 207"/>
              <a:gd name="T24" fmla="*/ 56762 w 278"/>
              <a:gd name="T25" fmla="*/ 16749 h 207"/>
              <a:gd name="T26" fmla="*/ 52764 w 278"/>
              <a:gd name="T27" fmla="*/ 19142 h 207"/>
              <a:gd name="T28" fmla="*/ 45569 w 278"/>
              <a:gd name="T29" fmla="*/ 26320 h 207"/>
              <a:gd name="T30" fmla="*/ 41572 w 278"/>
              <a:gd name="T31" fmla="*/ 31903 h 207"/>
              <a:gd name="T32" fmla="*/ 45569 w 278"/>
              <a:gd name="T33" fmla="*/ 31903 h 207"/>
              <a:gd name="T34" fmla="*/ 41572 w 278"/>
              <a:gd name="T35" fmla="*/ 38284 h 207"/>
              <a:gd name="T36" fmla="*/ 35176 w 278"/>
              <a:gd name="T37" fmla="*/ 41474 h 207"/>
              <a:gd name="T38" fmla="*/ 31179 w 278"/>
              <a:gd name="T39" fmla="*/ 38284 h 207"/>
              <a:gd name="T40" fmla="*/ 24783 w 278"/>
              <a:gd name="T41" fmla="*/ 38284 h 207"/>
              <a:gd name="T42" fmla="*/ 17588 w 278"/>
              <a:gd name="T43" fmla="*/ 38284 h 207"/>
              <a:gd name="T44" fmla="*/ 17588 w 278"/>
              <a:gd name="T45" fmla="*/ 35094 h 207"/>
              <a:gd name="T46" fmla="*/ 10393 w 278"/>
              <a:gd name="T47" fmla="*/ 35094 h 207"/>
              <a:gd name="T48" fmla="*/ 7195 w 278"/>
              <a:gd name="T49" fmla="*/ 28713 h 207"/>
              <a:gd name="T50" fmla="*/ 3997 w 278"/>
              <a:gd name="T51" fmla="*/ 22332 h 207"/>
              <a:gd name="T52" fmla="*/ 0 w 278"/>
              <a:gd name="T53" fmla="*/ 16749 h 207"/>
              <a:gd name="T54" fmla="*/ 3997 w 278"/>
              <a:gd name="T55" fmla="*/ 12761 h 20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78"/>
              <a:gd name="T85" fmla="*/ 0 h 207"/>
              <a:gd name="T86" fmla="*/ 278 w 278"/>
              <a:gd name="T87" fmla="*/ 207 h 20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78" h="207">
                <a:moveTo>
                  <a:pt x="17" y="63"/>
                </a:moveTo>
                <a:lnTo>
                  <a:pt x="17" y="63"/>
                </a:lnTo>
                <a:lnTo>
                  <a:pt x="52" y="81"/>
                </a:lnTo>
                <a:lnTo>
                  <a:pt x="86" y="81"/>
                </a:lnTo>
                <a:lnTo>
                  <a:pt x="104" y="63"/>
                </a:lnTo>
                <a:lnTo>
                  <a:pt x="138" y="81"/>
                </a:lnTo>
                <a:lnTo>
                  <a:pt x="155" y="63"/>
                </a:lnTo>
                <a:lnTo>
                  <a:pt x="207" y="0"/>
                </a:lnTo>
                <a:lnTo>
                  <a:pt x="261" y="0"/>
                </a:lnTo>
                <a:lnTo>
                  <a:pt x="244" y="33"/>
                </a:lnTo>
                <a:lnTo>
                  <a:pt x="261" y="48"/>
                </a:lnTo>
                <a:lnTo>
                  <a:pt x="244" y="63"/>
                </a:lnTo>
                <a:lnTo>
                  <a:pt x="278" y="81"/>
                </a:lnTo>
                <a:lnTo>
                  <a:pt x="261" y="96"/>
                </a:lnTo>
                <a:lnTo>
                  <a:pt x="224" y="129"/>
                </a:lnTo>
                <a:lnTo>
                  <a:pt x="207" y="159"/>
                </a:lnTo>
                <a:lnTo>
                  <a:pt x="224" y="159"/>
                </a:lnTo>
                <a:lnTo>
                  <a:pt x="207" y="192"/>
                </a:lnTo>
                <a:lnTo>
                  <a:pt x="173" y="207"/>
                </a:lnTo>
                <a:lnTo>
                  <a:pt x="155" y="192"/>
                </a:lnTo>
                <a:lnTo>
                  <a:pt x="121" y="192"/>
                </a:lnTo>
                <a:lnTo>
                  <a:pt x="86" y="192"/>
                </a:lnTo>
                <a:lnTo>
                  <a:pt x="86" y="176"/>
                </a:lnTo>
                <a:lnTo>
                  <a:pt x="52" y="176"/>
                </a:lnTo>
                <a:lnTo>
                  <a:pt x="34" y="144"/>
                </a:lnTo>
                <a:lnTo>
                  <a:pt x="17" y="111"/>
                </a:lnTo>
                <a:lnTo>
                  <a:pt x="0" y="81"/>
                </a:lnTo>
                <a:lnTo>
                  <a:pt x="17" y="63"/>
                </a:lnTo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3" name="Freeform 182"/>
          <p:cNvSpPr>
            <a:spLocks/>
          </p:cNvSpPr>
          <p:nvPr/>
        </p:nvSpPr>
        <p:spPr bwMode="auto">
          <a:xfrm>
            <a:off x="8609459" y="4137006"/>
            <a:ext cx="32910" cy="52656"/>
          </a:xfrm>
          <a:custGeom>
            <a:avLst/>
            <a:gdLst>
              <a:gd name="T0" fmla="*/ 0 w 19"/>
              <a:gd name="T1" fmla="*/ 3079 h 33"/>
              <a:gd name="T2" fmla="*/ 0 w 19"/>
              <a:gd name="T3" fmla="*/ 3079 h 33"/>
              <a:gd name="T4" fmla="*/ 4178 w 19"/>
              <a:gd name="T5" fmla="*/ 6158 h 33"/>
              <a:gd name="T6" fmla="*/ 0 w 19"/>
              <a:gd name="T7" fmla="*/ 0 h 33"/>
              <a:gd name="T8" fmla="*/ 0 w 19"/>
              <a:gd name="T9" fmla="*/ 3079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33"/>
              <a:gd name="T17" fmla="*/ 19 w 19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33">
                <a:moveTo>
                  <a:pt x="0" y="18"/>
                </a:moveTo>
                <a:lnTo>
                  <a:pt x="0" y="18"/>
                </a:lnTo>
                <a:lnTo>
                  <a:pt x="19" y="33"/>
                </a:lnTo>
                <a:lnTo>
                  <a:pt x="0" y="0"/>
                </a:lnTo>
                <a:lnTo>
                  <a:pt x="0" y="18"/>
                </a:lnTo>
              </a:path>
            </a:pathLst>
          </a:custGeom>
          <a:solidFill>
            <a:srgbClr val="D8CEB8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4" name="Freeform 183"/>
          <p:cNvSpPr>
            <a:spLocks/>
          </p:cNvSpPr>
          <p:nvPr/>
        </p:nvSpPr>
        <p:spPr bwMode="auto">
          <a:xfrm>
            <a:off x="8668697" y="4242318"/>
            <a:ext cx="26328" cy="52656"/>
          </a:xfrm>
          <a:custGeom>
            <a:avLst/>
            <a:gdLst>
              <a:gd name="T0" fmla="*/ 0 w 16"/>
              <a:gd name="T1" fmla="*/ 0 h 30"/>
              <a:gd name="T2" fmla="*/ 0 w 16"/>
              <a:gd name="T3" fmla="*/ 0 h 30"/>
              <a:gd name="T4" fmla="*/ 3175 w 16"/>
              <a:gd name="T5" fmla="*/ 7620 h 30"/>
              <a:gd name="T6" fmla="*/ 3175 w 16"/>
              <a:gd name="T7" fmla="*/ 3387 h 30"/>
              <a:gd name="T8" fmla="*/ 3175 w 16"/>
              <a:gd name="T9" fmla="*/ 0 h 30"/>
              <a:gd name="T10" fmla="*/ 0 w 16"/>
              <a:gd name="T11" fmla="*/ 0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30"/>
              <a:gd name="T20" fmla="*/ 16 w 16"/>
              <a:gd name="T21" fmla="*/ 30 h 3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30">
                <a:moveTo>
                  <a:pt x="0" y="0"/>
                </a:moveTo>
                <a:lnTo>
                  <a:pt x="0" y="0"/>
                </a:lnTo>
                <a:lnTo>
                  <a:pt x="16" y="30"/>
                </a:lnTo>
                <a:lnTo>
                  <a:pt x="16" y="15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5" name="Freeform 184"/>
          <p:cNvSpPr>
            <a:spLocks/>
          </p:cNvSpPr>
          <p:nvPr/>
        </p:nvSpPr>
        <p:spPr bwMode="auto">
          <a:xfrm>
            <a:off x="7813038" y="3794742"/>
            <a:ext cx="118476" cy="157968"/>
          </a:xfrm>
          <a:custGeom>
            <a:avLst/>
            <a:gdLst>
              <a:gd name="T0" fmla="*/ 0 w 71"/>
              <a:gd name="T1" fmla="*/ 9525 h 96"/>
              <a:gd name="T2" fmla="*/ 0 w 71"/>
              <a:gd name="T3" fmla="*/ 9525 h 96"/>
              <a:gd name="T4" fmla="*/ 4025 w 71"/>
              <a:gd name="T5" fmla="*/ 19050 h 96"/>
              <a:gd name="T6" fmla="*/ 11269 w 71"/>
              <a:gd name="T7" fmla="*/ 19050 h 96"/>
              <a:gd name="T8" fmla="*/ 14489 w 71"/>
              <a:gd name="T9" fmla="*/ 11906 h 96"/>
              <a:gd name="T10" fmla="*/ 8049 w 71"/>
              <a:gd name="T11" fmla="*/ 2381 h 96"/>
              <a:gd name="T12" fmla="*/ 4025 w 71"/>
              <a:gd name="T13" fmla="*/ 0 h 96"/>
              <a:gd name="T14" fmla="*/ 0 w 71"/>
              <a:gd name="T15" fmla="*/ 9525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1"/>
              <a:gd name="T25" fmla="*/ 0 h 96"/>
              <a:gd name="T26" fmla="*/ 71 w 71"/>
              <a:gd name="T27" fmla="*/ 96 h 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1" h="96">
                <a:moveTo>
                  <a:pt x="0" y="48"/>
                </a:moveTo>
                <a:lnTo>
                  <a:pt x="0" y="48"/>
                </a:lnTo>
                <a:lnTo>
                  <a:pt x="17" y="96"/>
                </a:lnTo>
                <a:lnTo>
                  <a:pt x="54" y="96"/>
                </a:lnTo>
                <a:lnTo>
                  <a:pt x="71" y="63"/>
                </a:lnTo>
                <a:lnTo>
                  <a:pt x="37" y="15"/>
                </a:lnTo>
                <a:lnTo>
                  <a:pt x="17" y="0"/>
                </a:lnTo>
                <a:lnTo>
                  <a:pt x="0" y="48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6" name="Freeform 185"/>
          <p:cNvSpPr>
            <a:spLocks/>
          </p:cNvSpPr>
          <p:nvPr/>
        </p:nvSpPr>
        <p:spPr bwMode="auto">
          <a:xfrm>
            <a:off x="9122855" y="3373495"/>
            <a:ext cx="115186" cy="78984"/>
          </a:xfrm>
          <a:custGeom>
            <a:avLst/>
            <a:gdLst>
              <a:gd name="T0" fmla="*/ 0 w 69"/>
              <a:gd name="T1" fmla="*/ 2381 h 48"/>
              <a:gd name="T2" fmla="*/ 0 w 69"/>
              <a:gd name="T3" fmla="*/ 2381 h 48"/>
              <a:gd name="T4" fmla="*/ 0 w 69"/>
              <a:gd name="T5" fmla="*/ 5556 h 48"/>
              <a:gd name="T6" fmla="*/ 7247 w 69"/>
              <a:gd name="T7" fmla="*/ 9525 h 48"/>
              <a:gd name="T8" fmla="*/ 10468 w 69"/>
              <a:gd name="T9" fmla="*/ 5556 h 48"/>
              <a:gd name="T10" fmla="*/ 14495 w 69"/>
              <a:gd name="T11" fmla="*/ 0 h 48"/>
              <a:gd name="T12" fmla="*/ 4026 w 69"/>
              <a:gd name="T13" fmla="*/ 0 h 48"/>
              <a:gd name="T14" fmla="*/ 0 w 69"/>
              <a:gd name="T15" fmla="*/ 2381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9"/>
              <a:gd name="T25" fmla="*/ 0 h 48"/>
              <a:gd name="T26" fmla="*/ 69 w 69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9" h="48">
                <a:moveTo>
                  <a:pt x="0" y="15"/>
                </a:moveTo>
                <a:lnTo>
                  <a:pt x="0" y="15"/>
                </a:lnTo>
                <a:lnTo>
                  <a:pt x="0" y="31"/>
                </a:lnTo>
                <a:lnTo>
                  <a:pt x="34" y="48"/>
                </a:lnTo>
                <a:lnTo>
                  <a:pt x="52" y="31"/>
                </a:lnTo>
                <a:lnTo>
                  <a:pt x="69" y="0"/>
                </a:lnTo>
                <a:lnTo>
                  <a:pt x="17" y="0"/>
                </a:lnTo>
                <a:lnTo>
                  <a:pt x="0" y="15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7" name="Freeform 186"/>
          <p:cNvSpPr>
            <a:spLocks/>
          </p:cNvSpPr>
          <p:nvPr/>
        </p:nvSpPr>
        <p:spPr bwMode="auto">
          <a:xfrm>
            <a:off x="8523894" y="3979040"/>
            <a:ext cx="487067" cy="473903"/>
          </a:xfrm>
          <a:custGeom>
            <a:avLst/>
            <a:gdLst>
              <a:gd name="T0" fmla="*/ 0 w 296"/>
              <a:gd name="T1" fmla="*/ 0 h 288"/>
              <a:gd name="T2" fmla="*/ 0 w 296"/>
              <a:gd name="T3" fmla="*/ 0 h 288"/>
              <a:gd name="T4" fmla="*/ 0 w 296"/>
              <a:gd name="T5" fmla="*/ 3969 h 288"/>
              <a:gd name="T6" fmla="*/ 7144 w 296"/>
              <a:gd name="T7" fmla="*/ 9525 h 288"/>
              <a:gd name="T8" fmla="*/ 14288 w 296"/>
              <a:gd name="T9" fmla="*/ 15875 h 288"/>
              <a:gd name="T10" fmla="*/ 17462 w 296"/>
              <a:gd name="T11" fmla="*/ 19050 h 288"/>
              <a:gd name="T12" fmla="*/ 20637 w 296"/>
              <a:gd name="T13" fmla="*/ 26194 h 288"/>
              <a:gd name="T14" fmla="*/ 27781 w 296"/>
              <a:gd name="T15" fmla="*/ 31750 h 288"/>
              <a:gd name="T16" fmla="*/ 34131 w 296"/>
              <a:gd name="T17" fmla="*/ 44450 h 288"/>
              <a:gd name="T18" fmla="*/ 48419 w 296"/>
              <a:gd name="T19" fmla="*/ 57150 h 288"/>
              <a:gd name="T20" fmla="*/ 55563 w 296"/>
              <a:gd name="T21" fmla="*/ 57150 h 288"/>
              <a:gd name="T22" fmla="*/ 58738 w 296"/>
              <a:gd name="T23" fmla="*/ 44450 h 288"/>
              <a:gd name="T24" fmla="*/ 55563 w 296"/>
              <a:gd name="T25" fmla="*/ 38100 h 288"/>
              <a:gd name="T26" fmla="*/ 52388 w 296"/>
              <a:gd name="T27" fmla="*/ 38100 h 288"/>
              <a:gd name="T28" fmla="*/ 48419 w 296"/>
              <a:gd name="T29" fmla="*/ 31750 h 288"/>
              <a:gd name="T30" fmla="*/ 44450 w 296"/>
              <a:gd name="T31" fmla="*/ 31750 h 288"/>
              <a:gd name="T32" fmla="*/ 44450 w 296"/>
              <a:gd name="T33" fmla="*/ 28575 h 288"/>
              <a:gd name="T34" fmla="*/ 41275 w 296"/>
              <a:gd name="T35" fmla="*/ 26194 h 288"/>
              <a:gd name="T36" fmla="*/ 41275 w 296"/>
              <a:gd name="T37" fmla="*/ 22225 h 288"/>
              <a:gd name="T38" fmla="*/ 30956 w 296"/>
              <a:gd name="T39" fmla="*/ 15875 h 288"/>
              <a:gd name="T40" fmla="*/ 27781 w 296"/>
              <a:gd name="T41" fmla="*/ 15875 h 288"/>
              <a:gd name="T42" fmla="*/ 10319 w 296"/>
              <a:gd name="T43" fmla="*/ 3969 h 288"/>
              <a:gd name="T44" fmla="*/ 0 w 296"/>
              <a:gd name="T45" fmla="*/ 0 h 28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96"/>
              <a:gd name="T70" fmla="*/ 0 h 288"/>
              <a:gd name="T71" fmla="*/ 296 w 296"/>
              <a:gd name="T72" fmla="*/ 288 h 28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96" h="288">
                <a:moveTo>
                  <a:pt x="0" y="0"/>
                </a:moveTo>
                <a:lnTo>
                  <a:pt x="0" y="0"/>
                </a:lnTo>
                <a:lnTo>
                  <a:pt x="0" y="18"/>
                </a:lnTo>
                <a:lnTo>
                  <a:pt x="35" y="48"/>
                </a:lnTo>
                <a:lnTo>
                  <a:pt x="71" y="81"/>
                </a:lnTo>
                <a:lnTo>
                  <a:pt x="88" y="96"/>
                </a:lnTo>
                <a:lnTo>
                  <a:pt x="106" y="129"/>
                </a:lnTo>
                <a:lnTo>
                  <a:pt x="140" y="162"/>
                </a:lnTo>
                <a:lnTo>
                  <a:pt x="175" y="225"/>
                </a:lnTo>
                <a:lnTo>
                  <a:pt x="244" y="288"/>
                </a:lnTo>
                <a:lnTo>
                  <a:pt x="278" y="288"/>
                </a:lnTo>
                <a:lnTo>
                  <a:pt x="296" y="225"/>
                </a:lnTo>
                <a:lnTo>
                  <a:pt x="278" y="192"/>
                </a:lnTo>
                <a:lnTo>
                  <a:pt x="261" y="192"/>
                </a:lnTo>
                <a:lnTo>
                  <a:pt x="244" y="162"/>
                </a:lnTo>
                <a:lnTo>
                  <a:pt x="227" y="162"/>
                </a:lnTo>
                <a:lnTo>
                  <a:pt x="227" y="144"/>
                </a:lnTo>
                <a:lnTo>
                  <a:pt x="209" y="129"/>
                </a:lnTo>
                <a:lnTo>
                  <a:pt x="209" y="114"/>
                </a:lnTo>
                <a:lnTo>
                  <a:pt x="158" y="81"/>
                </a:lnTo>
                <a:lnTo>
                  <a:pt x="140" y="81"/>
                </a:lnTo>
                <a:lnTo>
                  <a:pt x="54" y="18"/>
                </a:lnTo>
                <a:lnTo>
                  <a:pt x="0" y="0"/>
                </a:lnTo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8" name="Freeform 187"/>
          <p:cNvSpPr>
            <a:spLocks/>
          </p:cNvSpPr>
          <p:nvPr/>
        </p:nvSpPr>
        <p:spPr bwMode="auto">
          <a:xfrm>
            <a:off x="8981344" y="4452941"/>
            <a:ext cx="398211" cy="105312"/>
          </a:xfrm>
          <a:custGeom>
            <a:avLst/>
            <a:gdLst>
              <a:gd name="T0" fmla="*/ 0 w 242"/>
              <a:gd name="T1" fmla="*/ 3126 h 65"/>
              <a:gd name="T2" fmla="*/ 0 w 242"/>
              <a:gd name="T3" fmla="*/ 3126 h 65"/>
              <a:gd name="T4" fmla="*/ 14288 w 242"/>
              <a:gd name="T5" fmla="*/ 9378 h 65"/>
              <a:gd name="T6" fmla="*/ 48419 w 242"/>
              <a:gd name="T7" fmla="*/ 12505 h 65"/>
              <a:gd name="T8" fmla="*/ 48419 w 242"/>
              <a:gd name="T9" fmla="*/ 9378 h 65"/>
              <a:gd name="T10" fmla="*/ 41275 w 242"/>
              <a:gd name="T11" fmla="*/ 9378 h 65"/>
              <a:gd name="T12" fmla="*/ 38100 w 242"/>
              <a:gd name="T13" fmla="*/ 6252 h 65"/>
              <a:gd name="T14" fmla="*/ 27781 w 242"/>
              <a:gd name="T15" fmla="*/ 3126 h 65"/>
              <a:gd name="T16" fmla="*/ 27781 w 242"/>
              <a:gd name="T17" fmla="*/ 6252 h 65"/>
              <a:gd name="T18" fmla="*/ 20638 w 242"/>
              <a:gd name="T19" fmla="*/ 3126 h 65"/>
              <a:gd name="T20" fmla="*/ 10319 w 242"/>
              <a:gd name="T21" fmla="*/ 0 h 65"/>
              <a:gd name="T22" fmla="*/ 3969 w 242"/>
              <a:gd name="T23" fmla="*/ 0 h 65"/>
              <a:gd name="T24" fmla="*/ 0 w 242"/>
              <a:gd name="T25" fmla="*/ 3126 h 6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42"/>
              <a:gd name="T40" fmla="*/ 0 h 65"/>
              <a:gd name="T41" fmla="*/ 242 w 242"/>
              <a:gd name="T42" fmla="*/ 65 h 6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42" h="65">
                <a:moveTo>
                  <a:pt x="0" y="17"/>
                </a:moveTo>
                <a:lnTo>
                  <a:pt x="0" y="17"/>
                </a:lnTo>
                <a:lnTo>
                  <a:pt x="70" y="48"/>
                </a:lnTo>
                <a:lnTo>
                  <a:pt x="242" y="65"/>
                </a:lnTo>
                <a:lnTo>
                  <a:pt x="242" y="48"/>
                </a:lnTo>
                <a:lnTo>
                  <a:pt x="208" y="48"/>
                </a:lnTo>
                <a:lnTo>
                  <a:pt x="191" y="33"/>
                </a:lnTo>
                <a:lnTo>
                  <a:pt x="139" y="17"/>
                </a:lnTo>
                <a:lnTo>
                  <a:pt x="139" y="33"/>
                </a:lnTo>
                <a:lnTo>
                  <a:pt x="104" y="17"/>
                </a:lnTo>
                <a:lnTo>
                  <a:pt x="52" y="0"/>
                </a:lnTo>
                <a:lnTo>
                  <a:pt x="18" y="0"/>
                </a:lnTo>
                <a:lnTo>
                  <a:pt x="0" y="17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" name="Freeform 188"/>
          <p:cNvSpPr>
            <a:spLocks/>
          </p:cNvSpPr>
          <p:nvPr/>
        </p:nvSpPr>
        <p:spPr bwMode="auto">
          <a:xfrm>
            <a:off x="9379553" y="4558253"/>
            <a:ext cx="59238" cy="0"/>
          </a:xfrm>
          <a:custGeom>
            <a:avLst/>
            <a:gdLst>
              <a:gd name="T0" fmla="*/ 0 w 37"/>
              <a:gd name="T1" fmla="*/ 0 w 37"/>
              <a:gd name="T2" fmla="*/ 3089 w 37"/>
              <a:gd name="T3" fmla="*/ 6951 w 37"/>
              <a:gd name="T4" fmla="*/ 0 w 37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w 37"/>
              <a:gd name="T11" fmla="*/ 37 w 37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T10" t="0" r="T11" b="0"/>
            <a:pathLst>
              <a:path w="37">
                <a:moveTo>
                  <a:pt x="0" y="0"/>
                </a:moveTo>
                <a:lnTo>
                  <a:pt x="0" y="0"/>
                </a:lnTo>
                <a:lnTo>
                  <a:pt x="18" y="0"/>
                </a:lnTo>
                <a:lnTo>
                  <a:pt x="37" y="0"/>
                </a:lnTo>
                <a:lnTo>
                  <a:pt x="0" y="0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0" name="Freeform 189"/>
          <p:cNvSpPr>
            <a:spLocks/>
          </p:cNvSpPr>
          <p:nvPr/>
        </p:nvSpPr>
        <p:spPr bwMode="auto">
          <a:xfrm>
            <a:off x="8981343" y="4268646"/>
            <a:ext cx="59238" cy="78984"/>
          </a:xfrm>
          <a:custGeom>
            <a:avLst/>
            <a:gdLst>
              <a:gd name="T0" fmla="*/ 0 w 35"/>
              <a:gd name="T1" fmla="*/ 2381 h 48"/>
              <a:gd name="T2" fmla="*/ 0 w 35"/>
              <a:gd name="T3" fmla="*/ 2381 h 48"/>
              <a:gd name="T4" fmla="*/ 4082 w 35"/>
              <a:gd name="T5" fmla="*/ 6350 h 48"/>
              <a:gd name="T6" fmla="*/ 7348 w 35"/>
              <a:gd name="T7" fmla="*/ 9525 h 48"/>
              <a:gd name="T8" fmla="*/ 7348 w 35"/>
              <a:gd name="T9" fmla="*/ 6350 h 48"/>
              <a:gd name="T10" fmla="*/ 4082 w 35"/>
              <a:gd name="T11" fmla="*/ 0 h 48"/>
              <a:gd name="T12" fmla="*/ 0 w 35"/>
              <a:gd name="T13" fmla="*/ 2381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48"/>
              <a:gd name="T23" fmla="*/ 35 w 35"/>
              <a:gd name="T24" fmla="*/ 48 h 4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48">
                <a:moveTo>
                  <a:pt x="0" y="15"/>
                </a:moveTo>
                <a:lnTo>
                  <a:pt x="0" y="15"/>
                </a:lnTo>
                <a:lnTo>
                  <a:pt x="18" y="32"/>
                </a:lnTo>
                <a:lnTo>
                  <a:pt x="35" y="48"/>
                </a:lnTo>
                <a:lnTo>
                  <a:pt x="35" y="32"/>
                </a:lnTo>
                <a:lnTo>
                  <a:pt x="18" y="0"/>
                </a:lnTo>
                <a:lnTo>
                  <a:pt x="0" y="15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1" name="Freeform 190"/>
          <p:cNvSpPr>
            <a:spLocks/>
          </p:cNvSpPr>
          <p:nvPr/>
        </p:nvSpPr>
        <p:spPr bwMode="auto">
          <a:xfrm>
            <a:off x="9066909" y="4321302"/>
            <a:ext cx="29620" cy="26328"/>
          </a:xfrm>
          <a:custGeom>
            <a:avLst/>
            <a:gdLst>
              <a:gd name="T0" fmla="*/ 0 w 18"/>
              <a:gd name="T1" fmla="*/ 3175 h 16"/>
              <a:gd name="T2" fmla="*/ 0 w 18"/>
              <a:gd name="T3" fmla="*/ 3175 h 16"/>
              <a:gd name="T4" fmla="*/ 3969 w 18"/>
              <a:gd name="T5" fmla="*/ 3175 h 16"/>
              <a:gd name="T6" fmla="*/ 3969 w 18"/>
              <a:gd name="T7" fmla="*/ 0 h 16"/>
              <a:gd name="T8" fmla="*/ 0 w 18"/>
              <a:gd name="T9" fmla="*/ 0 h 16"/>
              <a:gd name="T10" fmla="*/ 0 w 18"/>
              <a:gd name="T11" fmla="*/ 3175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6"/>
              <a:gd name="T20" fmla="*/ 18 w 18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6">
                <a:moveTo>
                  <a:pt x="0" y="16"/>
                </a:moveTo>
                <a:lnTo>
                  <a:pt x="0" y="16"/>
                </a:lnTo>
                <a:lnTo>
                  <a:pt x="18" y="16"/>
                </a:lnTo>
                <a:lnTo>
                  <a:pt x="18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2" name="Line 143"/>
          <p:cNvSpPr>
            <a:spLocks noChangeShapeType="1"/>
          </p:cNvSpPr>
          <p:nvPr/>
        </p:nvSpPr>
        <p:spPr bwMode="auto">
          <a:xfrm>
            <a:off x="8425163" y="3702595"/>
            <a:ext cx="0" cy="26328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3" name="Freeform 192"/>
          <p:cNvSpPr>
            <a:spLocks/>
          </p:cNvSpPr>
          <p:nvPr/>
        </p:nvSpPr>
        <p:spPr bwMode="auto">
          <a:xfrm>
            <a:off x="8846411" y="3610446"/>
            <a:ext cx="217206" cy="154678"/>
          </a:xfrm>
          <a:custGeom>
            <a:avLst/>
            <a:gdLst>
              <a:gd name="T0" fmla="*/ 2922 w 251"/>
              <a:gd name="T1" fmla="*/ 5543 h 175"/>
              <a:gd name="T2" fmla="*/ 2922 w 251"/>
              <a:gd name="T3" fmla="*/ 5543 h 175"/>
              <a:gd name="T4" fmla="*/ 4592 w 251"/>
              <a:gd name="T5" fmla="*/ 4264 h 175"/>
              <a:gd name="T6" fmla="*/ 5427 w 251"/>
              <a:gd name="T7" fmla="*/ 3411 h 175"/>
              <a:gd name="T8" fmla="*/ 7096 w 251"/>
              <a:gd name="T9" fmla="*/ 2558 h 175"/>
              <a:gd name="T10" fmla="*/ 7096 w 251"/>
              <a:gd name="T11" fmla="*/ 0 h 175"/>
              <a:gd name="T12" fmla="*/ 5427 w 251"/>
              <a:gd name="T13" fmla="*/ 0 h 175"/>
              <a:gd name="T14" fmla="*/ 5427 w 251"/>
              <a:gd name="T15" fmla="*/ 853 h 175"/>
              <a:gd name="T16" fmla="*/ 4592 w 251"/>
              <a:gd name="T17" fmla="*/ 0 h 175"/>
              <a:gd name="T18" fmla="*/ 835 w 251"/>
              <a:gd name="T19" fmla="*/ 0 h 175"/>
              <a:gd name="T20" fmla="*/ 0 w 251"/>
              <a:gd name="T21" fmla="*/ 1705 h 175"/>
              <a:gd name="T22" fmla="*/ 835 w 251"/>
              <a:gd name="T23" fmla="*/ 3411 h 175"/>
              <a:gd name="T24" fmla="*/ 835 w 251"/>
              <a:gd name="T25" fmla="*/ 4264 h 175"/>
              <a:gd name="T26" fmla="*/ 835 w 251"/>
              <a:gd name="T27" fmla="*/ 5543 h 175"/>
              <a:gd name="T28" fmla="*/ 2922 w 251"/>
              <a:gd name="T29" fmla="*/ 5543 h 17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51"/>
              <a:gd name="T46" fmla="*/ 0 h 175"/>
              <a:gd name="T47" fmla="*/ 251 w 251"/>
              <a:gd name="T48" fmla="*/ 175 h 17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51" h="175">
                <a:moveTo>
                  <a:pt x="94" y="175"/>
                </a:moveTo>
                <a:lnTo>
                  <a:pt x="94" y="175"/>
                </a:lnTo>
                <a:lnTo>
                  <a:pt x="157" y="146"/>
                </a:lnTo>
                <a:lnTo>
                  <a:pt x="188" y="117"/>
                </a:lnTo>
                <a:lnTo>
                  <a:pt x="251" y="89"/>
                </a:lnTo>
                <a:lnTo>
                  <a:pt x="251" y="0"/>
                </a:lnTo>
                <a:lnTo>
                  <a:pt x="188" y="0"/>
                </a:lnTo>
                <a:lnTo>
                  <a:pt x="188" y="31"/>
                </a:lnTo>
                <a:lnTo>
                  <a:pt x="157" y="0"/>
                </a:lnTo>
                <a:lnTo>
                  <a:pt x="30" y="0"/>
                </a:lnTo>
                <a:lnTo>
                  <a:pt x="0" y="60"/>
                </a:lnTo>
                <a:lnTo>
                  <a:pt x="30" y="117"/>
                </a:lnTo>
                <a:lnTo>
                  <a:pt x="30" y="146"/>
                </a:lnTo>
                <a:lnTo>
                  <a:pt x="30" y="175"/>
                </a:lnTo>
                <a:lnTo>
                  <a:pt x="94" y="175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Freeform 193"/>
          <p:cNvSpPr>
            <a:spLocks/>
          </p:cNvSpPr>
          <p:nvPr/>
        </p:nvSpPr>
        <p:spPr bwMode="auto">
          <a:xfrm>
            <a:off x="8181630" y="3083889"/>
            <a:ext cx="230370" cy="236951"/>
          </a:xfrm>
          <a:custGeom>
            <a:avLst/>
            <a:gdLst>
              <a:gd name="T0" fmla="*/ 27781 w 140"/>
              <a:gd name="T1" fmla="*/ 26194 h 144"/>
              <a:gd name="T2" fmla="*/ 27781 w 140"/>
              <a:gd name="T3" fmla="*/ 26194 h 144"/>
              <a:gd name="T4" fmla="*/ 23812 w 140"/>
              <a:gd name="T5" fmla="*/ 15875 h 144"/>
              <a:gd name="T6" fmla="*/ 23812 w 140"/>
              <a:gd name="T7" fmla="*/ 12700 h 144"/>
              <a:gd name="T8" fmla="*/ 20637 w 140"/>
              <a:gd name="T9" fmla="*/ 15875 h 144"/>
              <a:gd name="T10" fmla="*/ 17462 w 140"/>
              <a:gd name="T11" fmla="*/ 15875 h 144"/>
              <a:gd name="T12" fmla="*/ 17462 w 140"/>
              <a:gd name="T13" fmla="*/ 12700 h 144"/>
              <a:gd name="T14" fmla="*/ 23812 w 140"/>
              <a:gd name="T15" fmla="*/ 7144 h 144"/>
              <a:gd name="T16" fmla="*/ 10319 w 140"/>
              <a:gd name="T17" fmla="*/ 7144 h 144"/>
              <a:gd name="T18" fmla="*/ 10319 w 140"/>
              <a:gd name="T19" fmla="*/ 0 h 144"/>
              <a:gd name="T20" fmla="*/ 7144 w 140"/>
              <a:gd name="T21" fmla="*/ 0 h 144"/>
              <a:gd name="T22" fmla="*/ 3175 w 140"/>
              <a:gd name="T23" fmla="*/ 0 h 144"/>
              <a:gd name="T24" fmla="*/ 3175 w 140"/>
              <a:gd name="T25" fmla="*/ 3175 h 144"/>
              <a:gd name="T26" fmla="*/ 0 w 140"/>
              <a:gd name="T27" fmla="*/ 9525 h 144"/>
              <a:gd name="T28" fmla="*/ 3175 w 140"/>
              <a:gd name="T29" fmla="*/ 9525 h 144"/>
              <a:gd name="T30" fmla="*/ 7144 w 140"/>
              <a:gd name="T31" fmla="*/ 26194 h 144"/>
              <a:gd name="T32" fmla="*/ 14287 w 140"/>
              <a:gd name="T33" fmla="*/ 26194 h 144"/>
              <a:gd name="T34" fmla="*/ 20637 w 140"/>
              <a:gd name="T35" fmla="*/ 19050 h 144"/>
              <a:gd name="T36" fmla="*/ 23812 w 140"/>
              <a:gd name="T37" fmla="*/ 28575 h 144"/>
              <a:gd name="T38" fmla="*/ 27781 w 140"/>
              <a:gd name="T39" fmla="*/ 26194 h 14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0"/>
              <a:gd name="T61" fmla="*/ 0 h 144"/>
              <a:gd name="T62" fmla="*/ 140 w 140"/>
              <a:gd name="T63" fmla="*/ 144 h 14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0" h="144">
                <a:moveTo>
                  <a:pt x="140" y="129"/>
                </a:moveTo>
                <a:lnTo>
                  <a:pt x="140" y="129"/>
                </a:lnTo>
                <a:lnTo>
                  <a:pt x="123" y="81"/>
                </a:lnTo>
                <a:lnTo>
                  <a:pt x="123" y="64"/>
                </a:lnTo>
                <a:lnTo>
                  <a:pt x="105" y="81"/>
                </a:lnTo>
                <a:lnTo>
                  <a:pt x="88" y="81"/>
                </a:lnTo>
                <a:lnTo>
                  <a:pt x="88" y="64"/>
                </a:lnTo>
                <a:lnTo>
                  <a:pt x="123" y="33"/>
                </a:lnTo>
                <a:lnTo>
                  <a:pt x="52" y="33"/>
                </a:lnTo>
                <a:lnTo>
                  <a:pt x="52" y="0"/>
                </a:lnTo>
                <a:lnTo>
                  <a:pt x="34" y="0"/>
                </a:lnTo>
                <a:lnTo>
                  <a:pt x="17" y="0"/>
                </a:lnTo>
                <a:lnTo>
                  <a:pt x="17" y="16"/>
                </a:lnTo>
                <a:lnTo>
                  <a:pt x="0" y="48"/>
                </a:lnTo>
                <a:lnTo>
                  <a:pt x="17" y="48"/>
                </a:lnTo>
                <a:lnTo>
                  <a:pt x="34" y="129"/>
                </a:lnTo>
                <a:lnTo>
                  <a:pt x="69" y="129"/>
                </a:lnTo>
                <a:lnTo>
                  <a:pt x="105" y="96"/>
                </a:lnTo>
                <a:lnTo>
                  <a:pt x="123" y="144"/>
                </a:lnTo>
                <a:lnTo>
                  <a:pt x="140" y="129"/>
                </a:lnTo>
                <a:close/>
              </a:path>
            </a:pathLst>
          </a:custGeom>
          <a:solidFill>
            <a:srgbClr val="5BAD82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6" name="Freeform 195"/>
          <p:cNvSpPr>
            <a:spLocks/>
          </p:cNvSpPr>
          <p:nvPr/>
        </p:nvSpPr>
        <p:spPr bwMode="auto">
          <a:xfrm>
            <a:off x="8839828" y="3241856"/>
            <a:ext cx="312646" cy="605543"/>
          </a:xfrm>
          <a:custGeom>
            <a:avLst/>
            <a:gdLst>
              <a:gd name="T0" fmla="*/ 0 w 190"/>
              <a:gd name="T1" fmla="*/ 3166 h 369"/>
              <a:gd name="T2" fmla="*/ 0 w 190"/>
              <a:gd name="T3" fmla="*/ 3166 h 369"/>
              <a:gd name="T4" fmla="*/ 0 w 190"/>
              <a:gd name="T5" fmla="*/ 0 h 369"/>
              <a:gd name="T6" fmla="*/ 3969 w 190"/>
              <a:gd name="T7" fmla="*/ 3166 h 369"/>
              <a:gd name="T8" fmla="*/ 17463 w 190"/>
              <a:gd name="T9" fmla="*/ 0 h 369"/>
              <a:gd name="T10" fmla="*/ 23813 w 190"/>
              <a:gd name="T11" fmla="*/ 0 h 369"/>
              <a:gd name="T12" fmla="*/ 23813 w 190"/>
              <a:gd name="T13" fmla="*/ 6333 h 369"/>
              <a:gd name="T14" fmla="*/ 30956 w 190"/>
              <a:gd name="T15" fmla="*/ 6333 h 369"/>
              <a:gd name="T16" fmla="*/ 23813 w 190"/>
              <a:gd name="T17" fmla="*/ 9499 h 369"/>
              <a:gd name="T18" fmla="*/ 20638 w 190"/>
              <a:gd name="T19" fmla="*/ 15832 h 369"/>
              <a:gd name="T20" fmla="*/ 17463 w 190"/>
              <a:gd name="T21" fmla="*/ 18998 h 369"/>
              <a:gd name="T22" fmla="*/ 34925 w 190"/>
              <a:gd name="T23" fmla="*/ 40372 h 369"/>
              <a:gd name="T24" fmla="*/ 38100 w 190"/>
              <a:gd name="T25" fmla="*/ 47496 h 369"/>
              <a:gd name="T26" fmla="*/ 34925 w 190"/>
              <a:gd name="T27" fmla="*/ 59370 h 369"/>
              <a:gd name="T28" fmla="*/ 27781 w 190"/>
              <a:gd name="T29" fmla="*/ 63328 h 369"/>
              <a:gd name="T30" fmla="*/ 23813 w 190"/>
              <a:gd name="T31" fmla="*/ 63328 h 369"/>
              <a:gd name="T32" fmla="*/ 20638 w 190"/>
              <a:gd name="T33" fmla="*/ 68869 h 369"/>
              <a:gd name="T34" fmla="*/ 14288 w 190"/>
              <a:gd name="T35" fmla="*/ 72827 h 369"/>
              <a:gd name="T36" fmla="*/ 14288 w 190"/>
              <a:gd name="T37" fmla="*/ 66494 h 369"/>
              <a:gd name="T38" fmla="*/ 10319 w 190"/>
              <a:gd name="T39" fmla="*/ 63328 h 369"/>
              <a:gd name="T40" fmla="*/ 17463 w 190"/>
              <a:gd name="T41" fmla="*/ 59370 h 369"/>
              <a:gd name="T42" fmla="*/ 20638 w 190"/>
              <a:gd name="T43" fmla="*/ 56995 h 369"/>
              <a:gd name="T44" fmla="*/ 27781 w 190"/>
              <a:gd name="T45" fmla="*/ 53829 h 369"/>
              <a:gd name="T46" fmla="*/ 27781 w 190"/>
              <a:gd name="T47" fmla="*/ 44330 h 369"/>
              <a:gd name="T48" fmla="*/ 27781 w 190"/>
              <a:gd name="T49" fmla="*/ 37997 h 369"/>
              <a:gd name="T50" fmla="*/ 20638 w 190"/>
              <a:gd name="T51" fmla="*/ 31664 h 369"/>
              <a:gd name="T52" fmla="*/ 20638 w 190"/>
              <a:gd name="T53" fmla="*/ 28498 h 369"/>
              <a:gd name="T54" fmla="*/ 7144 w 190"/>
              <a:gd name="T55" fmla="*/ 18998 h 369"/>
              <a:gd name="T56" fmla="*/ 14288 w 190"/>
              <a:gd name="T57" fmla="*/ 15832 h 369"/>
              <a:gd name="T58" fmla="*/ 10319 w 190"/>
              <a:gd name="T59" fmla="*/ 12666 h 369"/>
              <a:gd name="T60" fmla="*/ 3969 w 190"/>
              <a:gd name="T61" fmla="*/ 9499 h 369"/>
              <a:gd name="T62" fmla="*/ 0 w 190"/>
              <a:gd name="T63" fmla="*/ 3166 h 36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90"/>
              <a:gd name="T97" fmla="*/ 0 h 369"/>
              <a:gd name="T98" fmla="*/ 190 w 190"/>
              <a:gd name="T99" fmla="*/ 369 h 36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90" h="369">
                <a:moveTo>
                  <a:pt x="0" y="16"/>
                </a:moveTo>
                <a:lnTo>
                  <a:pt x="0" y="16"/>
                </a:lnTo>
                <a:lnTo>
                  <a:pt x="0" y="0"/>
                </a:lnTo>
                <a:lnTo>
                  <a:pt x="17" y="16"/>
                </a:lnTo>
                <a:lnTo>
                  <a:pt x="86" y="0"/>
                </a:lnTo>
                <a:lnTo>
                  <a:pt x="121" y="0"/>
                </a:lnTo>
                <a:lnTo>
                  <a:pt x="121" y="33"/>
                </a:lnTo>
                <a:lnTo>
                  <a:pt x="156" y="33"/>
                </a:lnTo>
                <a:lnTo>
                  <a:pt x="121" y="48"/>
                </a:lnTo>
                <a:lnTo>
                  <a:pt x="104" y="81"/>
                </a:lnTo>
                <a:lnTo>
                  <a:pt x="86" y="96"/>
                </a:lnTo>
                <a:lnTo>
                  <a:pt x="173" y="207"/>
                </a:lnTo>
                <a:lnTo>
                  <a:pt x="190" y="240"/>
                </a:lnTo>
                <a:lnTo>
                  <a:pt x="173" y="303"/>
                </a:lnTo>
                <a:lnTo>
                  <a:pt x="138" y="321"/>
                </a:lnTo>
                <a:lnTo>
                  <a:pt x="121" y="321"/>
                </a:lnTo>
                <a:lnTo>
                  <a:pt x="104" y="351"/>
                </a:lnTo>
                <a:lnTo>
                  <a:pt x="69" y="369"/>
                </a:lnTo>
                <a:lnTo>
                  <a:pt x="69" y="336"/>
                </a:lnTo>
                <a:lnTo>
                  <a:pt x="52" y="321"/>
                </a:lnTo>
                <a:lnTo>
                  <a:pt x="86" y="303"/>
                </a:lnTo>
                <a:lnTo>
                  <a:pt x="104" y="288"/>
                </a:lnTo>
                <a:lnTo>
                  <a:pt x="138" y="273"/>
                </a:lnTo>
                <a:lnTo>
                  <a:pt x="138" y="225"/>
                </a:lnTo>
                <a:lnTo>
                  <a:pt x="138" y="192"/>
                </a:lnTo>
                <a:lnTo>
                  <a:pt x="104" y="160"/>
                </a:lnTo>
                <a:lnTo>
                  <a:pt x="104" y="144"/>
                </a:lnTo>
                <a:lnTo>
                  <a:pt x="35" y="96"/>
                </a:lnTo>
                <a:lnTo>
                  <a:pt x="69" y="81"/>
                </a:lnTo>
                <a:lnTo>
                  <a:pt x="52" y="64"/>
                </a:lnTo>
                <a:lnTo>
                  <a:pt x="17" y="48"/>
                </a:lnTo>
                <a:lnTo>
                  <a:pt x="0" y="16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7" name="Freeform 196"/>
          <p:cNvSpPr>
            <a:spLocks/>
          </p:cNvSpPr>
          <p:nvPr/>
        </p:nvSpPr>
        <p:spPr bwMode="auto">
          <a:xfrm>
            <a:off x="8754263" y="3926384"/>
            <a:ext cx="171132" cy="236951"/>
          </a:xfrm>
          <a:custGeom>
            <a:avLst/>
            <a:gdLst>
              <a:gd name="T0" fmla="*/ 10319 w 104"/>
              <a:gd name="T1" fmla="*/ 2381 h 144"/>
              <a:gd name="T2" fmla="*/ 10319 w 104"/>
              <a:gd name="T3" fmla="*/ 2381 h 144"/>
              <a:gd name="T4" fmla="*/ 7144 w 104"/>
              <a:gd name="T5" fmla="*/ 5556 h 144"/>
              <a:gd name="T6" fmla="*/ 3969 w 104"/>
              <a:gd name="T7" fmla="*/ 2381 h 144"/>
              <a:gd name="T8" fmla="*/ 0 w 104"/>
              <a:gd name="T9" fmla="*/ 0 h 144"/>
              <a:gd name="T10" fmla="*/ 0 w 104"/>
              <a:gd name="T11" fmla="*/ 2381 h 144"/>
              <a:gd name="T12" fmla="*/ 0 w 104"/>
              <a:gd name="T13" fmla="*/ 11906 h 144"/>
              <a:gd name="T14" fmla="*/ 7144 w 104"/>
              <a:gd name="T15" fmla="*/ 19050 h 144"/>
              <a:gd name="T16" fmla="*/ 17463 w 104"/>
              <a:gd name="T17" fmla="*/ 28575 h 144"/>
              <a:gd name="T18" fmla="*/ 20638 w 104"/>
              <a:gd name="T19" fmla="*/ 28575 h 144"/>
              <a:gd name="T20" fmla="*/ 17463 w 104"/>
              <a:gd name="T21" fmla="*/ 19050 h 144"/>
              <a:gd name="T22" fmla="*/ 17463 w 104"/>
              <a:gd name="T23" fmla="*/ 9525 h 144"/>
              <a:gd name="T24" fmla="*/ 10319 w 104"/>
              <a:gd name="T25" fmla="*/ 2381 h 14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4"/>
              <a:gd name="T40" fmla="*/ 0 h 144"/>
              <a:gd name="T41" fmla="*/ 104 w 104"/>
              <a:gd name="T42" fmla="*/ 144 h 14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4" h="144">
                <a:moveTo>
                  <a:pt x="52" y="15"/>
                </a:moveTo>
                <a:lnTo>
                  <a:pt x="52" y="15"/>
                </a:lnTo>
                <a:lnTo>
                  <a:pt x="35" y="30"/>
                </a:lnTo>
                <a:lnTo>
                  <a:pt x="18" y="15"/>
                </a:lnTo>
                <a:lnTo>
                  <a:pt x="0" y="0"/>
                </a:lnTo>
                <a:lnTo>
                  <a:pt x="0" y="15"/>
                </a:lnTo>
                <a:lnTo>
                  <a:pt x="0" y="63"/>
                </a:lnTo>
                <a:lnTo>
                  <a:pt x="35" y="96"/>
                </a:lnTo>
                <a:lnTo>
                  <a:pt x="87" y="144"/>
                </a:lnTo>
                <a:lnTo>
                  <a:pt x="104" y="144"/>
                </a:lnTo>
                <a:lnTo>
                  <a:pt x="87" y="96"/>
                </a:lnTo>
                <a:lnTo>
                  <a:pt x="87" y="48"/>
                </a:lnTo>
                <a:lnTo>
                  <a:pt x="52" y="15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Freeform 197"/>
          <p:cNvSpPr>
            <a:spLocks/>
          </p:cNvSpPr>
          <p:nvPr/>
        </p:nvSpPr>
        <p:spPr bwMode="auto">
          <a:xfrm>
            <a:off x="8642369" y="3347168"/>
            <a:ext cx="338974" cy="631871"/>
          </a:xfrm>
          <a:custGeom>
            <a:avLst/>
            <a:gdLst>
              <a:gd name="T0" fmla="*/ 13429 w 207"/>
              <a:gd name="T1" fmla="*/ 0 h 383"/>
              <a:gd name="T2" fmla="*/ 13429 w 207"/>
              <a:gd name="T3" fmla="*/ 0 h 383"/>
              <a:gd name="T4" fmla="*/ 0 w 207"/>
              <a:gd name="T5" fmla="*/ 6367 h 383"/>
              <a:gd name="T6" fmla="*/ 0 w 207"/>
              <a:gd name="T7" fmla="*/ 13529 h 383"/>
              <a:gd name="T8" fmla="*/ 3160 w 207"/>
              <a:gd name="T9" fmla="*/ 23079 h 383"/>
              <a:gd name="T10" fmla="*/ 3160 w 207"/>
              <a:gd name="T11" fmla="*/ 28650 h 383"/>
              <a:gd name="T12" fmla="*/ 6319 w 207"/>
              <a:gd name="T13" fmla="*/ 35016 h 383"/>
              <a:gd name="T14" fmla="*/ 10269 w 207"/>
              <a:gd name="T15" fmla="*/ 44566 h 383"/>
              <a:gd name="T16" fmla="*/ 3160 w 207"/>
              <a:gd name="T17" fmla="*/ 57299 h 383"/>
              <a:gd name="T18" fmla="*/ 3160 w 207"/>
              <a:gd name="T19" fmla="*/ 61278 h 383"/>
              <a:gd name="T20" fmla="*/ 3160 w 207"/>
              <a:gd name="T21" fmla="*/ 63666 h 383"/>
              <a:gd name="T22" fmla="*/ 13429 w 207"/>
              <a:gd name="T23" fmla="*/ 73216 h 383"/>
              <a:gd name="T24" fmla="*/ 13429 w 207"/>
              <a:gd name="T25" fmla="*/ 70828 h 383"/>
              <a:gd name="T26" fmla="*/ 16588 w 207"/>
              <a:gd name="T27" fmla="*/ 73216 h 383"/>
              <a:gd name="T28" fmla="*/ 20538 w 207"/>
              <a:gd name="T29" fmla="*/ 76399 h 383"/>
              <a:gd name="T30" fmla="*/ 23698 w 207"/>
              <a:gd name="T31" fmla="*/ 73216 h 383"/>
              <a:gd name="T32" fmla="*/ 20538 w 207"/>
              <a:gd name="T33" fmla="*/ 70828 h 383"/>
              <a:gd name="T34" fmla="*/ 13429 w 207"/>
              <a:gd name="T35" fmla="*/ 70828 h 383"/>
              <a:gd name="T36" fmla="*/ 10269 w 207"/>
              <a:gd name="T37" fmla="*/ 57299 h 383"/>
              <a:gd name="T38" fmla="*/ 6319 w 207"/>
              <a:gd name="T39" fmla="*/ 57299 h 383"/>
              <a:gd name="T40" fmla="*/ 6319 w 207"/>
              <a:gd name="T41" fmla="*/ 54116 h 383"/>
              <a:gd name="T42" fmla="*/ 10269 w 207"/>
              <a:gd name="T43" fmla="*/ 44566 h 383"/>
              <a:gd name="T44" fmla="*/ 10269 w 207"/>
              <a:gd name="T45" fmla="*/ 38199 h 383"/>
              <a:gd name="T46" fmla="*/ 16588 w 207"/>
              <a:gd name="T47" fmla="*/ 38199 h 383"/>
              <a:gd name="T48" fmla="*/ 16588 w 207"/>
              <a:gd name="T49" fmla="*/ 42179 h 383"/>
              <a:gd name="T50" fmla="*/ 20538 w 207"/>
              <a:gd name="T51" fmla="*/ 42179 h 383"/>
              <a:gd name="T52" fmla="*/ 26857 w 207"/>
              <a:gd name="T53" fmla="*/ 47749 h 383"/>
              <a:gd name="T54" fmla="*/ 26857 w 207"/>
              <a:gd name="T55" fmla="*/ 44566 h 383"/>
              <a:gd name="T56" fmla="*/ 23698 w 207"/>
              <a:gd name="T57" fmla="*/ 38199 h 383"/>
              <a:gd name="T58" fmla="*/ 26857 w 207"/>
              <a:gd name="T59" fmla="*/ 32629 h 383"/>
              <a:gd name="T60" fmla="*/ 40286 w 207"/>
              <a:gd name="T61" fmla="*/ 32629 h 383"/>
              <a:gd name="T62" fmla="*/ 40286 w 207"/>
              <a:gd name="T63" fmla="*/ 25466 h 383"/>
              <a:gd name="T64" fmla="*/ 37126 w 207"/>
              <a:gd name="T65" fmla="*/ 23079 h 383"/>
              <a:gd name="T66" fmla="*/ 33966 w 207"/>
              <a:gd name="T67" fmla="*/ 15916 h 383"/>
              <a:gd name="T68" fmla="*/ 30807 w 207"/>
              <a:gd name="T69" fmla="*/ 9550 h 383"/>
              <a:gd name="T70" fmla="*/ 23698 w 207"/>
              <a:gd name="T71" fmla="*/ 13529 h 383"/>
              <a:gd name="T72" fmla="*/ 16588 w 207"/>
              <a:gd name="T73" fmla="*/ 15916 h 383"/>
              <a:gd name="T74" fmla="*/ 16588 w 207"/>
              <a:gd name="T75" fmla="*/ 6367 h 383"/>
              <a:gd name="T76" fmla="*/ 13429 w 207"/>
              <a:gd name="T77" fmla="*/ 3979 h 383"/>
              <a:gd name="T78" fmla="*/ 13429 w 207"/>
              <a:gd name="T79" fmla="*/ 0 h 38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07"/>
              <a:gd name="T121" fmla="*/ 0 h 383"/>
              <a:gd name="T122" fmla="*/ 207 w 207"/>
              <a:gd name="T123" fmla="*/ 383 h 38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07" h="383">
                <a:moveTo>
                  <a:pt x="69" y="0"/>
                </a:moveTo>
                <a:lnTo>
                  <a:pt x="69" y="0"/>
                </a:lnTo>
                <a:lnTo>
                  <a:pt x="0" y="32"/>
                </a:lnTo>
                <a:lnTo>
                  <a:pt x="0" y="65"/>
                </a:lnTo>
                <a:lnTo>
                  <a:pt x="17" y="113"/>
                </a:lnTo>
                <a:lnTo>
                  <a:pt x="17" y="143"/>
                </a:lnTo>
                <a:lnTo>
                  <a:pt x="35" y="176"/>
                </a:lnTo>
                <a:lnTo>
                  <a:pt x="52" y="224"/>
                </a:lnTo>
                <a:lnTo>
                  <a:pt x="17" y="287"/>
                </a:lnTo>
                <a:lnTo>
                  <a:pt x="17" y="305"/>
                </a:lnTo>
                <a:lnTo>
                  <a:pt x="17" y="320"/>
                </a:lnTo>
                <a:lnTo>
                  <a:pt x="69" y="368"/>
                </a:lnTo>
                <a:lnTo>
                  <a:pt x="69" y="353"/>
                </a:lnTo>
                <a:lnTo>
                  <a:pt x="87" y="368"/>
                </a:lnTo>
                <a:lnTo>
                  <a:pt x="104" y="383"/>
                </a:lnTo>
                <a:lnTo>
                  <a:pt x="121" y="368"/>
                </a:lnTo>
                <a:lnTo>
                  <a:pt x="104" y="353"/>
                </a:lnTo>
                <a:lnTo>
                  <a:pt x="69" y="353"/>
                </a:lnTo>
                <a:lnTo>
                  <a:pt x="52" y="287"/>
                </a:lnTo>
                <a:lnTo>
                  <a:pt x="35" y="287"/>
                </a:lnTo>
                <a:lnTo>
                  <a:pt x="35" y="272"/>
                </a:lnTo>
                <a:lnTo>
                  <a:pt x="52" y="224"/>
                </a:lnTo>
                <a:lnTo>
                  <a:pt x="52" y="191"/>
                </a:lnTo>
                <a:lnTo>
                  <a:pt x="87" y="191"/>
                </a:lnTo>
                <a:lnTo>
                  <a:pt x="87" y="209"/>
                </a:lnTo>
                <a:lnTo>
                  <a:pt x="104" y="209"/>
                </a:lnTo>
                <a:lnTo>
                  <a:pt x="138" y="239"/>
                </a:lnTo>
                <a:lnTo>
                  <a:pt x="138" y="224"/>
                </a:lnTo>
                <a:lnTo>
                  <a:pt x="121" y="191"/>
                </a:lnTo>
                <a:lnTo>
                  <a:pt x="138" y="161"/>
                </a:lnTo>
                <a:lnTo>
                  <a:pt x="207" y="161"/>
                </a:lnTo>
                <a:lnTo>
                  <a:pt x="207" y="128"/>
                </a:lnTo>
                <a:lnTo>
                  <a:pt x="190" y="113"/>
                </a:lnTo>
                <a:lnTo>
                  <a:pt x="173" y="80"/>
                </a:lnTo>
                <a:lnTo>
                  <a:pt x="156" y="48"/>
                </a:lnTo>
                <a:lnTo>
                  <a:pt x="121" y="65"/>
                </a:lnTo>
                <a:lnTo>
                  <a:pt x="87" y="80"/>
                </a:lnTo>
                <a:lnTo>
                  <a:pt x="87" y="32"/>
                </a:lnTo>
                <a:lnTo>
                  <a:pt x="69" y="17"/>
                </a:lnTo>
                <a:lnTo>
                  <a:pt x="69" y="0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9" name="Freeform 198"/>
          <p:cNvSpPr>
            <a:spLocks/>
          </p:cNvSpPr>
          <p:nvPr/>
        </p:nvSpPr>
        <p:spPr bwMode="auto">
          <a:xfrm>
            <a:off x="8244161" y="3004904"/>
            <a:ext cx="138221" cy="52656"/>
          </a:xfrm>
          <a:custGeom>
            <a:avLst/>
            <a:gdLst>
              <a:gd name="T0" fmla="*/ 13335 w 85"/>
              <a:gd name="T1" fmla="*/ 0 h 33"/>
              <a:gd name="T2" fmla="*/ 13335 w 85"/>
              <a:gd name="T3" fmla="*/ 0 h 33"/>
              <a:gd name="T4" fmla="*/ 3138 w 85"/>
              <a:gd name="T5" fmla="*/ 0 h 33"/>
              <a:gd name="T6" fmla="*/ 0 w 85"/>
              <a:gd name="T7" fmla="*/ 3079 h 33"/>
              <a:gd name="T8" fmla="*/ 0 w 85"/>
              <a:gd name="T9" fmla="*/ 6158 h 33"/>
              <a:gd name="T10" fmla="*/ 13335 w 85"/>
              <a:gd name="T11" fmla="*/ 6158 h 33"/>
              <a:gd name="T12" fmla="*/ 16473 w 85"/>
              <a:gd name="T13" fmla="*/ 6158 h 33"/>
              <a:gd name="T14" fmla="*/ 13335 w 85"/>
              <a:gd name="T15" fmla="*/ 0 h 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5"/>
              <a:gd name="T25" fmla="*/ 0 h 33"/>
              <a:gd name="T26" fmla="*/ 85 w 85"/>
              <a:gd name="T27" fmla="*/ 33 h 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5" h="33">
                <a:moveTo>
                  <a:pt x="69" y="0"/>
                </a:moveTo>
                <a:lnTo>
                  <a:pt x="69" y="0"/>
                </a:lnTo>
                <a:lnTo>
                  <a:pt x="18" y="0"/>
                </a:lnTo>
                <a:lnTo>
                  <a:pt x="0" y="16"/>
                </a:lnTo>
                <a:lnTo>
                  <a:pt x="0" y="33"/>
                </a:lnTo>
                <a:lnTo>
                  <a:pt x="69" y="33"/>
                </a:lnTo>
                <a:lnTo>
                  <a:pt x="85" y="33"/>
                </a:lnTo>
                <a:lnTo>
                  <a:pt x="69" y="0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Freeform 199"/>
          <p:cNvSpPr>
            <a:spLocks/>
          </p:cNvSpPr>
          <p:nvPr/>
        </p:nvSpPr>
        <p:spPr bwMode="auto">
          <a:xfrm>
            <a:off x="7842659" y="2902884"/>
            <a:ext cx="342263" cy="181006"/>
          </a:xfrm>
          <a:custGeom>
            <a:avLst/>
            <a:gdLst>
              <a:gd name="T0" fmla="*/ 3145 w 210"/>
              <a:gd name="T1" fmla="*/ 0 h 111"/>
              <a:gd name="T2" fmla="*/ 3145 w 210"/>
              <a:gd name="T3" fmla="*/ 0 h 111"/>
              <a:gd name="T4" fmla="*/ 0 w 210"/>
              <a:gd name="T5" fmla="*/ 9439 h 111"/>
              <a:gd name="T6" fmla="*/ 6290 w 210"/>
              <a:gd name="T7" fmla="*/ 11799 h 111"/>
              <a:gd name="T8" fmla="*/ 36951 w 210"/>
              <a:gd name="T9" fmla="*/ 21238 h 111"/>
              <a:gd name="T10" fmla="*/ 40882 w 210"/>
              <a:gd name="T11" fmla="*/ 21238 h 111"/>
              <a:gd name="T12" fmla="*/ 40882 w 210"/>
              <a:gd name="T13" fmla="*/ 18878 h 111"/>
              <a:gd name="T14" fmla="*/ 40882 w 210"/>
              <a:gd name="T15" fmla="*/ 11799 h 111"/>
              <a:gd name="T16" fmla="*/ 30661 w 210"/>
              <a:gd name="T17" fmla="*/ 11799 h 111"/>
              <a:gd name="T18" fmla="*/ 23586 w 210"/>
              <a:gd name="T19" fmla="*/ 9439 h 111"/>
              <a:gd name="T20" fmla="*/ 20441 w 210"/>
              <a:gd name="T21" fmla="*/ 5506 h 111"/>
              <a:gd name="T22" fmla="*/ 16510 w 210"/>
              <a:gd name="T23" fmla="*/ 5506 h 111"/>
              <a:gd name="T24" fmla="*/ 10220 w 210"/>
              <a:gd name="T25" fmla="*/ 0 h 111"/>
              <a:gd name="T26" fmla="*/ 3145 w 210"/>
              <a:gd name="T27" fmla="*/ 0 h 11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0"/>
              <a:gd name="T43" fmla="*/ 0 h 111"/>
              <a:gd name="T44" fmla="*/ 210 w 210"/>
              <a:gd name="T45" fmla="*/ 111 h 11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0" h="111">
                <a:moveTo>
                  <a:pt x="18" y="0"/>
                </a:moveTo>
                <a:lnTo>
                  <a:pt x="18" y="0"/>
                </a:lnTo>
                <a:lnTo>
                  <a:pt x="0" y="48"/>
                </a:lnTo>
                <a:lnTo>
                  <a:pt x="35" y="63"/>
                </a:lnTo>
                <a:lnTo>
                  <a:pt x="192" y="111"/>
                </a:lnTo>
                <a:lnTo>
                  <a:pt x="210" y="111"/>
                </a:lnTo>
                <a:lnTo>
                  <a:pt x="210" y="96"/>
                </a:lnTo>
                <a:lnTo>
                  <a:pt x="210" y="63"/>
                </a:lnTo>
                <a:lnTo>
                  <a:pt x="158" y="63"/>
                </a:lnTo>
                <a:lnTo>
                  <a:pt x="121" y="48"/>
                </a:lnTo>
                <a:lnTo>
                  <a:pt x="104" y="31"/>
                </a:lnTo>
                <a:lnTo>
                  <a:pt x="87" y="31"/>
                </a:lnTo>
                <a:lnTo>
                  <a:pt x="52" y="0"/>
                </a:lnTo>
                <a:lnTo>
                  <a:pt x="18" y="0"/>
                </a:lnTo>
                <a:close/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1" name="Freeform 200"/>
          <p:cNvSpPr>
            <a:spLocks/>
          </p:cNvSpPr>
          <p:nvPr/>
        </p:nvSpPr>
        <p:spPr bwMode="auto">
          <a:xfrm>
            <a:off x="8181630" y="1688506"/>
            <a:ext cx="1428292" cy="631871"/>
          </a:xfrm>
          <a:custGeom>
            <a:avLst/>
            <a:gdLst>
              <a:gd name="T0" fmla="*/ 113637 w 867"/>
              <a:gd name="T1" fmla="*/ 19050 h 384"/>
              <a:gd name="T2" fmla="*/ 113637 w 867"/>
              <a:gd name="T3" fmla="*/ 19050 h 384"/>
              <a:gd name="T4" fmla="*/ 92976 w 867"/>
              <a:gd name="T5" fmla="*/ 9525 h 384"/>
              <a:gd name="T6" fmla="*/ 86619 w 867"/>
              <a:gd name="T7" fmla="*/ 13494 h 384"/>
              <a:gd name="T8" fmla="*/ 82645 w 867"/>
              <a:gd name="T9" fmla="*/ 13494 h 384"/>
              <a:gd name="T10" fmla="*/ 76288 w 867"/>
              <a:gd name="T11" fmla="*/ 3969 h 384"/>
              <a:gd name="T12" fmla="*/ 62779 w 867"/>
              <a:gd name="T13" fmla="*/ 0 h 384"/>
              <a:gd name="T14" fmla="*/ 55627 w 867"/>
              <a:gd name="T15" fmla="*/ 3969 h 384"/>
              <a:gd name="T16" fmla="*/ 55627 w 867"/>
              <a:gd name="T17" fmla="*/ 9525 h 384"/>
              <a:gd name="T18" fmla="*/ 55627 w 867"/>
              <a:gd name="T19" fmla="*/ 16669 h 384"/>
              <a:gd name="T20" fmla="*/ 41323 w 867"/>
              <a:gd name="T21" fmla="*/ 16669 h 384"/>
              <a:gd name="T22" fmla="*/ 34965 w 867"/>
              <a:gd name="T23" fmla="*/ 13494 h 384"/>
              <a:gd name="T24" fmla="*/ 20661 w 867"/>
              <a:gd name="T25" fmla="*/ 9525 h 384"/>
              <a:gd name="T26" fmla="*/ 3973 w 867"/>
              <a:gd name="T27" fmla="*/ 19050 h 384"/>
              <a:gd name="T28" fmla="*/ 0 w 867"/>
              <a:gd name="T29" fmla="*/ 22225 h 384"/>
              <a:gd name="T30" fmla="*/ 7152 w 867"/>
              <a:gd name="T31" fmla="*/ 32544 h 384"/>
              <a:gd name="T32" fmla="*/ 14304 w 867"/>
              <a:gd name="T33" fmla="*/ 32544 h 384"/>
              <a:gd name="T34" fmla="*/ 17483 w 867"/>
              <a:gd name="T35" fmla="*/ 38100 h 384"/>
              <a:gd name="T36" fmla="*/ 17483 w 867"/>
              <a:gd name="T37" fmla="*/ 51594 h 384"/>
              <a:gd name="T38" fmla="*/ 38144 w 867"/>
              <a:gd name="T39" fmla="*/ 57150 h 384"/>
              <a:gd name="T40" fmla="*/ 48475 w 867"/>
              <a:gd name="T41" fmla="*/ 66675 h 384"/>
              <a:gd name="T42" fmla="*/ 69136 w 867"/>
              <a:gd name="T43" fmla="*/ 66675 h 384"/>
              <a:gd name="T44" fmla="*/ 79467 w 867"/>
              <a:gd name="T45" fmla="*/ 73819 h 384"/>
              <a:gd name="T46" fmla="*/ 92976 w 867"/>
              <a:gd name="T47" fmla="*/ 76200 h 384"/>
              <a:gd name="T48" fmla="*/ 107280 w 867"/>
              <a:gd name="T49" fmla="*/ 70644 h 384"/>
              <a:gd name="T50" fmla="*/ 120789 w 867"/>
              <a:gd name="T51" fmla="*/ 70644 h 384"/>
              <a:gd name="T52" fmla="*/ 131120 w 867"/>
              <a:gd name="T53" fmla="*/ 61119 h 384"/>
              <a:gd name="T54" fmla="*/ 127941 w 867"/>
              <a:gd name="T55" fmla="*/ 57150 h 384"/>
              <a:gd name="T56" fmla="*/ 135093 w 867"/>
              <a:gd name="T57" fmla="*/ 51594 h 384"/>
              <a:gd name="T58" fmla="*/ 141450 w 867"/>
              <a:gd name="T59" fmla="*/ 54769 h 384"/>
              <a:gd name="T60" fmla="*/ 151781 w 867"/>
              <a:gd name="T61" fmla="*/ 47625 h 384"/>
              <a:gd name="T62" fmla="*/ 158933 w 867"/>
              <a:gd name="T63" fmla="*/ 41275 h 384"/>
              <a:gd name="T64" fmla="*/ 172442 w 867"/>
              <a:gd name="T65" fmla="*/ 41275 h 384"/>
              <a:gd name="T66" fmla="*/ 169264 w 867"/>
              <a:gd name="T67" fmla="*/ 35719 h 384"/>
              <a:gd name="T68" fmla="*/ 166085 w 867"/>
              <a:gd name="T69" fmla="*/ 32544 h 384"/>
              <a:gd name="T70" fmla="*/ 158933 w 867"/>
              <a:gd name="T71" fmla="*/ 35719 h 384"/>
              <a:gd name="T72" fmla="*/ 151781 w 867"/>
              <a:gd name="T73" fmla="*/ 35719 h 384"/>
              <a:gd name="T74" fmla="*/ 151781 w 867"/>
              <a:gd name="T75" fmla="*/ 22225 h 384"/>
              <a:gd name="T76" fmla="*/ 155754 w 867"/>
              <a:gd name="T77" fmla="*/ 16669 h 384"/>
              <a:gd name="T78" fmla="*/ 145424 w 867"/>
              <a:gd name="T79" fmla="*/ 13494 h 384"/>
              <a:gd name="T80" fmla="*/ 138272 w 867"/>
              <a:gd name="T81" fmla="*/ 19050 h 384"/>
              <a:gd name="T82" fmla="*/ 123968 w 867"/>
              <a:gd name="T83" fmla="*/ 22225 h 384"/>
              <a:gd name="T84" fmla="*/ 113637 w 867"/>
              <a:gd name="T85" fmla="*/ 19050 h 38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67"/>
              <a:gd name="T130" fmla="*/ 0 h 384"/>
              <a:gd name="T131" fmla="*/ 867 w 867"/>
              <a:gd name="T132" fmla="*/ 384 h 384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67" h="384">
                <a:moveTo>
                  <a:pt x="572" y="96"/>
                </a:moveTo>
                <a:lnTo>
                  <a:pt x="572" y="96"/>
                </a:lnTo>
                <a:lnTo>
                  <a:pt x="468" y="48"/>
                </a:lnTo>
                <a:lnTo>
                  <a:pt x="434" y="65"/>
                </a:lnTo>
                <a:lnTo>
                  <a:pt x="416" y="65"/>
                </a:lnTo>
                <a:lnTo>
                  <a:pt x="382" y="17"/>
                </a:lnTo>
                <a:lnTo>
                  <a:pt x="313" y="0"/>
                </a:lnTo>
                <a:lnTo>
                  <a:pt x="278" y="17"/>
                </a:lnTo>
                <a:lnTo>
                  <a:pt x="278" y="48"/>
                </a:lnTo>
                <a:lnTo>
                  <a:pt x="278" y="81"/>
                </a:lnTo>
                <a:lnTo>
                  <a:pt x="207" y="81"/>
                </a:lnTo>
                <a:lnTo>
                  <a:pt x="173" y="65"/>
                </a:lnTo>
                <a:lnTo>
                  <a:pt x="103" y="48"/>
                </a:lnTo>
                <a:lnTo>
                  <a:pt x="17" y="96"/>
                </a:lnTo>
                <a:lnTo>
                  <a:pt x="0" y="113"/>
                </a:lnTo>
                <a:lnTo>
                  <a:pt x="34" y="161"/>
                </a:lnTo>
                <a:lnTo>
                  <a:pt x="69" y="161"/>
                </a:lnTo>
                <a:lnTo>
                  <a:pt x="86" y="192"/>
                </a:lnTo>
                <a:lnTo>
                  <a:pt x="86" y="257"/>
                </a:lnTo>
                <a:lnTo>
                  <a:pt x="190" y="288"/>
                </a:lnTo>
                <a:lnTo>
                  <a:pt x="244" y="336"/>
                </a:lnTo>
                <a:lnTo>
                  <a:pt x="347" y="336"/>
                </a:lnTo>
                <a:lnTo>
                  <a:pt x="399" y="369"/>
                </a:lnTo>
                <a:lnTo>
                  <a:pt x="468" y="384"/>
                </a:lnTo>
                <a:lnTo>
                  <a:pt x="537" y="353"/>
                </a:lnTo>
                <a:lnTo>
                  <a:pt x="606" y="353"/>
                </a:lnTo>
                <a:lnTo>
                  <a:pt x="660" y="305"/>
                </a:lnTo>
                <a:lnTo>
                  <a:pt x="641" y="288"/>
                </a:lnTo>
                <a:lnTo>
                  <a:pt x="677" y="257"/>
                </a:lnTo>
                <a:lnTo>
                  <a:pt x="712" y="273"/>
                </a:lnTo>
                <a:lnTo>
                  <a:pt x="764" y="240"/>
                </a:lnTo>
                <a:lnTo>
                  <a:pt x="798" y="209"/>
                </a:lnTo>
                <a:lnTo>
                  <a:pt x="867" y="209"/>
                </a:lnTo>
                <a:lnTo>
                  <a:pt x="850" y="177"/>
                </a:lnTo>
                <a:lnTo>
                  <a:pt x="833" y="161"/>
                </a:lnTo>
                <a:lnTo>
                  <a:pt x="798" y="177"/>
                </a:lnTo>
                <a:lnTo>
                  <a:pt x="764" y="177"/>
                </a:lnTo>
                <a:lnTo>
                  <a:pt x="764" y="113"/>
                </a:lnTo>
                <a:lnTo>
                  <a:pt x="781" y="81"/>
                </a:lnTo>
                <a:lnTo>
                  <a:pt x="729" y="65"/>
                </a:lnTo>
                <a:lnTo>
                  <a:pt x="695" y="96"/>
                </a:lnTo>
                <a:lnTo>
                  <a:pt x="624" y="113"/>
                </a:lnTo>
                <a:lnTo>
                  <a:pt x="572" y="96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Freeform 201"/>
          <p:cNvSpPr>
            <a:spLocks/>
          </p:cNvSpPr>
          <p:nvPr/>
        </p:nvSpPr>
        <p:spPr bwMode="auto">
          <a:xfrm>
            <a:off x="6332090" y="1451555"/>
            <a:ext cx="1826504" cy="898443"/>
          </a:xfrm>
          <a:custGeom>
            <a:avLst/>
            <a:gdLst>
              <a:gd name="T0" fmla="*/ 216889 w 1109"/>
              <a:gd name="T1" fmla="*/ 54869 h 545"/>
              <a:gd name="T2" fmla="*/ 209739 w 1109"/>
              <a:gd name="T3" fmla="*/ 66797 h 545"/>
              <a:gd name="T4" fmla="*/ 196233 w 1109"/>
              <a:gd name="T5" fmla="*/ 66797 h 545"/>
              <a:gd name="T6" fmla="*/ 182727 w 1109"/>
              <a:gd name="T7" fmla="*/ 80316 h 545"/>
              <a:gd name="T8" fmla="*/ 185905 w 1109"/>
              <a:gd name="T9" fmla="*/ 95425 h 545"/>
              <a:gd name="T10" fmla="*/ 175577 w 1109"/>
              <a:gd name="T11" fmla="*/ 95425 h 545"/>
              <a:gd name="T12" fmla="*/ 148565 w 1109"/>
              <a:gd name="T13" fmla="*/ 93039 h 545"/>
              <a:gd name="T14" fmla="*/ 144593 w 1109"/>
              <a:gd name="T15" fmla="*/ 99401 h 545"/>
              <a:gd name="T16" fmla="*/ 131087 w 1109"/>
              <a:gd name="T17" fmla="*/ 99401 h 545"/>
              <a:gd name="T18" fmla="*/ 117581 w 1109"/>
              <a:gd name="T19" fmla="*/ 104967 h 545"/>
              <a:gd name="T20" fmla="*/ 110431 w 1109"/>
              <a:gd name="T21" fmla="*/ 102582 h 545"/>
              <a:gd name="T22" fmla="*/ 107253 w 1109"/>
              <a:gd name="T23" fmla="*/ 95425 h 545"/>
              <a:gd name="T24" fmla="*/ 82624 w 1109"/>
              <a:gd name="T25" fmla="*/ 89858 h 545"/>
              <a:gd name="T26" fmla="*/ 65146 w 1109"/>
              <a:gd name="T27" fmla="*/ 76340 h 545"/>
              <a:gd name="T28" fmla="*/ 51640 w 1109"/>
              <a:gd name="T29" fmla="*/ 104967 h 545"/>
              <a:gd name="T30" fmla="*/ 41312 w 1109"/>
              <a:gd name="T31" fmla="*/ 99401 h 545"/>
              <a:gd name="T32" fmla="*/ 30984 w 1109"/>
              <a:gd name="T33" fmla="*/ 95425 h 545"/>
              <a:gd name="T34" fmla="*/ 24628 w 1109"/>
              <a:gd name="T35" fmla="*/ 85882 h 545"/>
              <a:gd name="T36" fmla="*/ 27806 w 1109"/>
              <a:gd name="T37" fmla="*/ 85882 h 545"/>
              <a:gd name="T38" fmla="*/ 27806 w 1109"/>
              <a:gd name="T39" fmla="*/ 80316 h 545"/>
              <a:gd name="T40" fmla="*/ 38134 w 1109"/>
              <a:gd name="T41" fmla="*/ 70773 h 545"/>
              <a:gd name="T42" fmla="*/ 24628 w 1109"/>
              <a:gd name="T43" fmla="*/ 64412 h 545"/>
              <a:gd name="T44" fmla="*/ 10328 w 1109"/>
              <a:gd name="T45" fmla="*/ 70773 h 545"/>
              <a:gd name="T46" fmla="*/ 10328 w 1109"/>
              <a:gd name="T47" fmla="*/ 61231 h 545"/>
              <a:gd name="T48" fmla="*/ 0 w 1109"/>
              <a:gd name="T49" fmla="*/ 54869 h 545"/>
              <a:gd name="T50" fmla="*/ 10328 w 1109"/>
              <a:gd name="T51" fmla="*/ 45327 h 545"/>
              <a:gd name="T52" fmla="*/ 10328 w 1109"/>
              <a:gd name="T53" fmla="*/ 38170 h 545"/>
              <a:gd name="T54" fmla="*/ 27806 w 1109"/>
              <a:gd name="T55" fmla="*/ 32603 h 545"/>
              <a:gd name="T56" fmla="*/ 38134 w 1109"/>
              <a:gd name="T57" fmla="*/ 32603 h 545"/>
              <a:gd name="T58" fmla="*/ 54818 w 1109"/>
              <a:gd name="T59" fmla="*/ 35784 h 545"/>
              <a:gd name="T60" fmla="*/ 65146 w 1109"/>
              <a:gd name="T61" fmla="*/ 38170 h 545"/>
              <a:gd name="T62" fmla="*/ 82624 w 1109"/>
              <a:gd name="T63" fmla="*/ 32603 h 545"/>
              <a:gd name="T64" fmla="*/ 79447 w 1109"/>
              <a:gd name="T65" fmla="*/ 26242 h 545"/>
              <a:gd name="T66" fmla="*/ 79447 w 1109"/>
              <a:gd name="T67" fmla="*/ 19085 h 545"/>
              <a:gd name="T68" fmla="*/ 85802 w 1109"/>
              <a:gd name="T69" fmla="*/ 13519 h 545"/>
              <a:gd name="T70" fmla="*/ 117581 w 1109"/>
              <a:gd name="T71" fmla="*/ 0 h 545"/>
              <a:gd name="T72" fmla="*/ 131087 w 1109"/>
              <a:gd name="T73" fmla="*/ 0 h 545"/>
              <a:gd name="T74" fmla="*/ 134265 w 1109"/>
              <a:gd name="T75" fmla="*/ 9542 h 545"/>
              <a:gd name="T76" fmla="*/ 144593 w 1109"/>
              <a:gd name="T77" fmla="*/ 13519 h 545"/>
              <a:gd name="T78" fmla="*/ 151743 w 1109"/>
              <a:gd name="T79" fmla="*/ 16699 h 545"/>
              <a:gd name="T80" fmla="*/ 165249 w 1109"/>
              <a:gd name="T81" fmla="*/ 7157 h 545"/>
              <a:gd name="T82" fmla="*/ 182727 w 1109"/>
              <a:gd name="T83" fmla="*/ 38170 h 545"/>
              <a:gd name="T84" fmla="*/ 189083 w 1109"/>
              <a:gd name="T85" fmla="*/ 38170 h 545"/>
              <a:gd name="T86" fmla="*/ 209739 w 1109"/>
              <a:gd name="T87" fmla="*/ 45327 h 545"/>
              <a:gd name="T88" fmla="*/ 216889 w 1109"/>
              <a:gd name="T89" fmla="*/ 45327 h 545"/>
              <a:gd name="T90" fmla="*/ 216889 w 1109"/>
              <a:gd name="T91" fmla="*/ 54869 h 54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109"/>
              <a:gd name="T139" fmla="*/ 0 h 545"/>
              <a:gd name="T140" fmla="*/ 1109 w 1109"/>
              <a:gd name="T141" fmla="*/ 545 h 545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109" h="545">
                <a:moveTo>
                  <a:pt x="1092" y="273"/>
                </a:moveTo>
                <a:lnTo>
                  <a:pt x="1092" y="273"/>
                </a:lnTo>
                <a:lnTo>
                  <a:pt x="1075" y="288"/>
                </a:lnTo>
                <a:lnTo>
                  <a:pt x="1056" y="336"/>
                </a:lnTo>
                <a:lnTo>
                  <a:pt x="1038" y="336"/>
                </a:lnTo>
                <a:lnTo>
                  <a:pt x="987" y="336"/>
                </a:lnTo>
                <a:lnTo>
                  <a:pt x="969" y="401"/>
                </a:lnTo>
                <a:lnTo>
                  <a:pt x="917" y="401"/>
                </a:lnTo>
                <a:lnTo>
                  <a:pt x="917" y="417"/>
                </a:lnTo>
                <a:lnTo>
                  <a:pt x="935" y="480"/>
                </a:lnTo>
                <a:lnTo>
                  <a:pt x="917" y="497"/>
                </a:lnTo>
                <a:lnTo>
                  <a:pt x="883" y="480"/>
                </a:lnTo>
                <a:lnTo>
                  <a:pt x="779" y="480"/>
                </a:lnTo>
                <a:lnTo>
                  <a:pt x="745" y="465"/>
                </a:lnTo>
                <a:lnTo>
                  <a:pt x="727" y="480"/>
                </a:lnTo>
                <a:lnTo>
                  <a:pt x="727" y="497"/>
                </a:lnTo>
                <a:lnTo>
                  <a:pt x="676" y="480"/>
                </a:lnTo>
                <a:lnTo>
                  <a:pt x="658" y="497"/>
                </a:lnTo>
                <a:lnTo>
                  <a:pt x="606" y="545"/>
                </a:lnTo>
                <a:lnTo>
                  <a:pt x="589" y="528"/>
                </a:lnTo>
                <a:lnTo>
                  <a:pt x="555" y="528"/>
                </a:lnTo>
                <a:lnTo>
                  <a:pt x="555" y="513"/>
                </a:lnTo>
                <a:lnTo>
                  <a:pt x="537" y="513"/>
                </a:lnTo>
                <a:lnTo>
                  <a:pt x="537" y="480"/>
                </a:lnTo>
                <a:lnTo>
                  <a:pt x="501" y="449"/>
                </a:lnTo>
                <a:lnTo>
                  <a:pt x="414" y="449"/>
                </a:lnTo>
                <a:lnTo>
                  <a:pt x="363" y="401"/>
                </a:lnTo>
                <a:lnTo>
                  <a:pt x="328" y="384"/>
                </a:lnTo>
                <a:lnTo>
                  <a:pt x="259" y="401"/>
                </a:lnTo>
                <a:lnTo>
                  <a:pt x="259" y="528"/>
                </a:lnTo>
                <a:lnTo>
                  <a:pt x="242" y="528"/>
                </a:lnTo>
                <a:lnTo>
                  <a:pt x="207" y="497"/>
                </a:lnTo>
                <a:lnTo>
                  <a:pt x="155" y="513"/>
                </a:lnTo>
                <a:lnTo>
                  <a:pt x="155" y="480"/>
                </a:lnTo>
                <a:lnTo>
                  <a:pt x="138" y="480"/>
                </a:lnTo>
                <a:lnTo>
                  <a:pt x="121" y="432"/>
                </a:lnTo>
                <a:lnTo>
                  <a:pt x="103" y="432"/>
                </a:lnTo>
                <a:lnTo>
                  <a:pt x="138" y="432"/>
                </a:lnTo>
                <a:lnTo>
                  <a:pt x="121" y="417"/>
                </a:lnTo>
                <a:lnTo>
                  <a:pt x="138" y="401"/>
                </a:lnTo>
                <a:lnTo>
                  <a:pt x="207" y="401"/>
                </a:lnTo>
                <a:lnTo>
                  <a:pt x="190" y="353"/>
                </a:lnTo>
                <a:lnTo>
                  <a:pt x="155" y="336"/>
                </a:lnTo>
                <a:lnTo>
                  <a:pt x="121" y="321"/>
                </a:lnTo>
                <a:lnTo>
                  <a:pt x="69" y="353"/>
                </a:lnTo>
                <a:lnTo>
                  <a:pt x="52" y="353"/>
                </a:lnTo>
                <a:lnTo>
                  <a:pt x="69" y="336"/>
                </a:lnTo>
                <a:lnTo>
                  <a:pt x="52" y="305"/>
                </a:lnTo>
                <a:lnTo>
                  <a:pt x="17" y="305"/>
                </a:lnTo>
                <a:lnTo>
                  <a:pt x="0" y="273"/>
                </a:lnTo>
                <a:lnTo>
                  <a:pt x="17" y="192"/>
                </a:lnTo>
                <a:lnTo>
                  <a:pt x="52" y="225"/>
                </a:lnTo>
                <a:lnTo>
                  <a:pt x="69" y="225"/>
                </a:lnTo>
                <a:lnTo>
                  <a:pt x="52" y="192"/>
                </a:lnTo>
                <a:lnTo>
                  <a:pt x="103" y="144"/>
                </a:lnTo>
                <a:lnTo>
                  <a:pt x="138" y="161"/>
                </a:lnTo>
                <a:lnTo>
                  <a:pt x="155" y="144"/>
                </a:lnTo>
                <a:lnTo>
                  <a:pt x="190" y="161"/>
                </a:lnTo>
                <a:lnTo>
                  <a:pt x="242" y="192"/>
                </a:lnTo>
                <a:lnTo>
                  <a:pt x="276" y="177"/>
                </a:lnTo>
                <a:lnTo>
                  <a:pt x="311" y="177"/>
                </a:lnTo>
                <a:lnTo>
                  <a:pt x="328" y="192"/>
                </a:lnTo>
                <a:lnTo>
                  <a:pt x="397" y="192"/>
                </a:lnTo>
                <a:lnTo>
                  <a:pt x="414" y="161"/>
                </a:lnTo>
                <a:lnTo>
                  <a:pt x="363" y="144"/>
                </a:lnTo>
                <a:lnTo>
                  <a:pt x="397" y="129"/>
                </a:lnTo>
                <a:lnTo>
                  <a:pt x="380" y="113"/>
                </a:lnTo>
                <a:lnTo>
                  <a:pt x="397" y="96"/>
                </a:lnTo>
                <a:lnTo>
                  <a:pt x="397" y="48"/>
                </a:lnTo>
                <a:lnTo>
                  <a:pt x="432" y="65"/>
                </a:lnTo>
                <a:lnTo>
                  <a:pt x="589" y="18"/>
                </a:lnTo>
                <a:lnTo>
                  <a:pt x="589" y="0"/>
                </a:lnTo>
                <a:lnTo>
                  <a:pt x="606" y="0"/>
                </a:lnTo>
                <a:lnTo>
                  <a:pt x="658" y="0"/>
                </a:lnTo>
                <a:lnTo>
                  <a:pt x="676" y="33"/>
                </a:lnTo>
                <a:lnTo>
                  <a:pt x="676" y="48"/>
                </a:lnTo>
                <a:lnTo>
                  <a:pt x="693" y="48"/>
                </a:lnTo>
                <a:lnTo>
                  <a:pt x="727" y="65"/>
                </a:lnTo>
                <a:lnTo>
                  <a:pt x="727" y="81"/>
                </a:lnTo>
                <a:lnTo>
                  <a:pt x="762" y="81"/>
                </a:lnTo>
                <a:lnTo>
                  <a:pt x="796" y="48"/>
                </a:lnTo>
                <a:lnTo>
                  <a:pt x="831" y="33"/>
                </a:lnTo>
                <a:lnTo>
                  <a:pt x="848" y="81"/>
                </a:lnTo>
                <a:lnTo>
                  <a:pt x="917" y="192"/>
                </a:lnTo>
                <a:lnTo>
                  <a:pt x="935" y="161"/>
                </a:lnTo>
                <a:lnTo>
                  <a:pt x="952" y="192"/>
                </a:lnTo>
                <a:lnTo>
                  <a:pt x="1004" y="177"/>
                </a:lnTo>
                <a:lnTo>
                  <a:pt x="1056" y="225"/>
                </a:lnTo>
                <a:lnTo>
                  <a:pt x="1092" y="240"/>
                </a:lnTo>
                <a:lnTo>
                  <a:pt x="1092" y="225"/>
                </a:lnTo>
                <a:lnTo>
                  <a:pt x="1109" y="257"/>
                </a:lnTo>
                <a:lnTo>
                  <a:pt x="1092" y="273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Freeform 202"/>
          <p:cNvSpPr>
            <a:spLocks/>
          </p:cNvSpPr>
          <p:nvPr/>
        </p:nvSpPr>
        <p:spPr bwMode="auto">
          <a:xfrm>
            <a:off x="6588788" y="2241394"/>
            <a:ext cx="654909" cy="394919"/>
          </a:xfrm>
          <a:custGeom>
            <a:avLst/>
            <a:gdLst>
              <a:gd name="T0" fmla="*/ 75029 w 400"/>
              <a:gd name="T1" fmla="*/ 38100 h 240"/>
              <a:gd name="T2" fmla="*/ 75029 w 400"/>
              <a:gd name="T3" fmla="*/ 38100 h 240"/>
              <a:gd name="T4" fmla="*/ 71870 w 400"/>
              <a:gd name="T5" fmla="*/ 34925 h 240"/>
              <a:gd name="T6" fmla="*/ 71870 w 400"/>
              <a:gd name="T7" fmla="*/ 38100 h 240"/>
              <a:gd name="T8" fmla="*/ 67921 w 400"/>
              <a:gd name="T9" fmla="*/ 38100 h 240"/>
              <a:gd name="T10" fmla="*/ 64762 w 400"/>
              <a:gd name="T11" fmla="*/ 44450 h 240"/>
              <a:gd name="T12" fmla="*/ 57654 w 400"/>
              <a:gd name="T13" fmla="*/ 44450 h 240"/>
              <a:gd name="T14" fmla="*/ 57654 w 400"/>
              <a:gd name="T15" fmla="*/ 47625 h 240"/>
              <a:gd name="T16" fmla="*/ 47387 w 400"/>
              <a:gd name="T17" fmla="*/ 47625 h 240"/>
              <a:gd name="T18" fmla="*/ 47387 w 400"/>
              <a:gd name="T19" fmla="*/ 44450 h 240"/>
              <a:gd name="T20" fmla="*/ 47387 w 400"/>
              <a:gd name="T21" fmla="*/ 42069 h 240"/>
              <a:gd name="T22" fmla="*/ 26853 w 400"/>
              <a:gd name="T23" fmla="*/ 32544 h 240"/>
              <a:gd name="T24" fmla="*/ 16585 w 400"/>
              <a:gd name="T25" fmla="*/ 32544 h 240"/>
              <a:gd name="T26" fmla="*/ 10267 w 400"/>
              <a:gd name="T27" fmla="*/ 34925 h 240"/>
              <a:gd name="T28" fmla="*/ 10267 w 400"/>
              <a:gd name="T29" fmla="*/ 26194 h 240"/>
              <a:gd name="T30" fmla="*/ 6318 w 400"/>
              <a:gd name="T31" fmla="*/ 26194 h 240"/>
              <a:gd name="T32" fmla="*/ 6318 w 400"/>
              <a:gd name="T33" fmla="*/ 19050 h 240"/>
              <a:gd name="T34" fmla="*/ 3159 w 400"/>
              <a:gd name="T35" fmla="*/ 19050 h 240"/>
              <a:gd name="T36" fmla="*/ 3159 w 400"/>
              <a:gd name="T37" fmla="*/ 16669 h 240"/>
              <a:gd name="T38" fmla="*/ 10267 w 400"/>
              <a:gd name="T39" fmla="*/ 16669 h 240"/>
              <a:gd name="T40" fmla="*/ 13426 w 400"/>
              <a:gd name="T41" fmla="*/ 13494 h 240"/>
              <a:gd name="T42" fmla="*/ 6318 w 400"/>
              <a:gd name="T43" fmla="*/ 7144 h 240"/>
              <a:gd name="T44" fmla="*/ 3159 w 400"/>
              <a:gd name="T45" fmla="*/ 7144 h 240"/>
              <a:gd name="T46" fmla="*/ 3159 w 400"/>
              <a:gd name="T47" fmla="*/ 13494 h 240"/>
              <a:gd name="T48" fmla="*/ 0 w 400"/>
              <a:gd name="T49" fmla="*/ 7144 h 240"/>
              <a:gd name="T50" fmla="*/ 10267 w 400"/>
              <a:gd name="T51" fmla="*/ 3969 h 240"/>
              <a:gd name="T52" fmla="*/ 16585 w 400"/>
              <a:gd name="T53" fmla="*/ 9525 h 240"/>
              <a:gd name="T54" fmla="*/ 20534 w 400"/>
              <a:gd name="T55" fmla="*/ 9525 h 240"/>
              <a:gd name="T56" fmla="*/ 23693 w 400"/>
              <a:gd name="T57" fmla="*/ 9525 h 240"/>
              <a:gd name="T58" fmla="*/ 23693 w 400"/>
              <a:gd name="T59" fmla="*/ 7144 h 240"/>
              <a:gd name="T60" fmla="*/ 30802 w 400"/>
              <a:gd name="T61" fmla="*/ 3969 h 240"/>
              <a:gd name="T62" fmla="*/ 33961 w 400"/>
              <a:gd name="T63" fmla="*/ 3969 h 240"/>
              <a:gd name="T64" fmla="*/ 30802 w 400"/>
              <a:gd name="T65" fmla="*/ 0 h 240"/>
              <a:gd name="T66" fmla="*/ 33961 w 400"/>
              <a:gd name="T67" fmla="*/ 0 h 240"/>
              <a:gd name="T68" fmla="*/ 40279 w 400"/>
              <a:gd name="T69" fmla="*/ 3969 h 240"/>
              <a:gd name="T70" fmla="*/ 40279 w 400"/>
              <a:gd name="T71" fmla="*/ 9525 h 240"/>
              <a:gd name="T72" fmla="*/ 50546 w 400"/>
              <a:gd name="T73" fmla="*/ 9525 h 240"/>
              <a:gd name="T74" fmla="*/ 54495 w 400"/>
              <a:gd name="T75" fmla="*/ 19050 h 240"/>
              <a:gd name="T76" fmla="*/ 71870 w 400"/>
              <a:gd name="T77" fmla="*/ 28575 h 240"/>
              <a:gd name="T78" fmla="*/ 78188 w 400"/>
              <a:gd name="T79" fmla="*/ 32544 h 240"/>
              <a:gd name="T80" fmla="*/ 75029 w 400"/>
              <a:gd name="T81" fmla="*/ 38100 h 24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00"/>
              <a:gd name="T124" fmla="*/ 0 h 240"/>
              <a:gd name="T125" fmla="*/ 400 w 400"/>
              <a:gd name="T126" fmla="*/ 240 h 24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00" h="240">
                <a:moveTo>
                  <a:pt x="382" y="192"/>
                </a:moveTo>
                <a:lnTo>
                  <a:pt x="382" y="192"/>
                </a:lnTo>
                <a:lnTo>
                  <a:pt x="365" y="176"/>
                </a:lnTo>
                <a:lnTo>
                  <a:pt x="365" y="192"/>
                </a:lnTo>
                <a:lnTo>
                  <a:pt x="348" y="192"/>
                </a:lnTo>
                <a:lnTo>
                  <a:pt x="330" y="224"/>
                </a:lnTo>
                <a:lnTo>
                  <a:pt x="296" y="224"/>
                </a:lnTo>
                <a:lnTo>
                  <a:pt x="296" y="240"/>
                </a:lnTo>
                <a:lnTo>
                  <a:pt x="242" y="240"/>
                </a:lnTo>
                <a:lnTo>
                  <a:pt x="242" y="224"/>
                </a:lnTo>
                <a:lnTo>
                  <a:pt x="242" y="209"/>
                </a:lnTo>
                <a:lnTo>
                  <a:pt x="139" y="161"/>
                </a:lnTo>
                <a:lnTo>
                  <a:pt x="87" y="161"/>
                </a:lnTo>
                <a:lnTo>
                  <a:pt x="52" y="176"/>
                </a:lnTo>
                <a:lnTo>
                  <a:pt x="52" y="129"/>
                </a:lnTo>
                <a:lnTo>
                  <a:pt x="35" y="129"/>
                </a:lnTo>
                <a:lnTo>
                  <a:pt x="35" y="96"/>
                </a:lnTo>
                <a:lnTo>
                  <a:pt x="18" y="96"/>
                </a:lnTo>
                <a:lnTo>
                  <a:pt x="18" y="81"/>
                </a:lnTo>
                <a:lnTo>
                  <a:pt x="52" y="81"/>
                </a:lnTo>
                <a:lnTo>
                  <a:pt x="69" y="65"/>
                </a:lnTo>
                <a:lnTo>
                  <a:pt x="35" y="33"/>
                </a:lnTo>
                <a:lnTo>
                  <a:pt x="18" y="33"/>
                </a:lnTo>
                <a:lnTo>
                  <a:pt x="18" y="65"/>
                </a:lnTo>
                <a:lnTo>
                  <a:pt x="0" y="33"/>
                </a:lnTo>
                <a:lnTo>
                  <a:pt x="52" y="17"/>
                </a:lnTo>
                <a:lnTo>
                  <a:pt x="87" y="48"/>
                </a:lnTo>
                <a:lnTo>
                  <a:pt x="104" y="48"/>
                </a:lnTo>
                <a:lnTo>
                  <a:pt x="121" y="48"/>
                </a:lnTo>
                <a:lnTo>
                  <a:pt x="121" y="33"/>
                </a:lnTo>
                <a:lnTo>
                  <a:pt x="156" y="17"/>
                </a:lnTo>
                <a:lnTo>
                  <a:pt x="173" y="17"/>
                </a:lnTo>
                <a:lnTo>
                  <a:pt x="156" y="0"/>
                </a:lnTo>
                <a:lnTo>
                  <a:pt x="173" y="0"/>
                </a:lnTo>
                <a:lnTo>
                  <a:pt x="208" y="17"/>
                </a:lnTo>
                <a:lnTo>
                  <a:pt x="208" y="48"/>
                </a:lnTo>
                <a:lnTo>
                  <a:pt x="259" y="48"/>
                </a:lnTo>
                <a:lnTo>
                  <a:pt x="279" y="96"/>
                </a:lnTo>
                <a:lnTo>
                  <a:pt x="365" y="144"/>
                </a:lnTo>
                <a:lnTo>
                  <a:pt x="400" y="161"/>
                </a:lnTo>
                <a:lnTo>
                  <a:pt x="382" y="192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4" name="Freeform 203"/>
          <p:cNvSpPr>
            <a:spLocks/>
          </p:cNvSpPr>
          <p:nvPr/>
        </p:nvSpPr>
        <p:spPr bwMode="auto">
          <a:xfrm>
            <a:off x="6756630" y="2083426"/>
            <a:ext cx="773385" cy="473903"/>
          </a:xfrm>
          <a:custGeom>
            <a:avLst/>
            <a:gdLst>
              <a:gd name="T0" fmla="*/ 55800 w 468"/>
              <a:gd name="T1" fmla="*/ 57150 h 288"/>
              <a:gd name="T2" fmla="*/ 55800 w 468"/>
              <a:gd name="T3" fmla="*/ 57150 h 288"/>
              <a:gd name="T4" fmla="*/ 62177 w 468"/>
              <a:gd name="T5" fmla="*/ 57150 h 288"/>
              <a:gd name="T6" fmla="*/ 66163 w 468"/>
              <a:gd name="T7" fmla="*/ 51594 h 288"/>
              <a:gd name="T8" fmla="*/ 66163 w 468"/>
              <a:gd name="T9" fmla="*/ 44450 h 288"/>
              <a:gd name="T10" fmla="*/ 62177 w 468"/>
              <a:gd name="T11" fmla="*/ 41275 h 288"/>
              <a:gd name="T12" fmla="*/ 69351 w 468"/>
              <a:gd name="T13" fmla="*/ 41275 h 288"/>
              <a:gd name="T14" fmla="*/ 72540 w 468"/>
              <a:gd name="T15" fmla="*/ 34925 h 288"/>
              <a:gd name="T16" fmla="*/ 72540 w 468"/>
              <a:gd name="T17" fmla="*/ 31750 h 288"/>
              <a:gd name="T18" fmla="*/ 79714 w 468"/>
              <a:gd name="T19" fmla="*/ 31750 h 288"/>
              <a:gd name="T20" fmla="*/ 79714 w 468"/>
              <a:gd name="T21" fmla="*/ 34925 h 288"/>
              <a:gd name="T22" fmla="*/ 86889 w 468"/>
              <a:gd name="T23" fmla="*/ 34925 h 288"/>
              <a:gd name="T24" fmla="*/ 94063 w 468"/>
              <a:gd name="T25" fmla="*/ 31750 h 288"/>
              <a:gd name="T26" fmla="*/ 86889 w 468"/>
              <a:gd name="T27" fmla="*/ 28575 h 288"/>
              <a:gd name="T28" fmla="*/ 83700 w 468"/>
              <a:gd name="T29" fmla="*/ 28575 h 288"/>
              <a:gd name="T30" fmla="*/ 76526 w 468"/>
              <a:gd name="T31" fmla="*/ 28575 h 288"/>
              <a:gd name="T32" fmla="*/ 83700 w 468"/>
              <a:gd name="T33" fmla="*/ 22225 h 288"/>
              <a:gd name="T34" fmla="*/ 79714 w 468"/>
              <a:gd name="T35" fmla="*/ 22225 h 288"/>
              <a:gd name="T36" fmla="*/ 69351 w 468"/>
              <a:gd name="T37" fmla="*/ 31750 h 288"/>
              <a:gd name="T38" fmla="*/ 66163 w 468"/>
              <a:gd name="T39" fmla="*/ 28575 h 288"/>
              <a:gd name="T40" fmla="*/ 58989 w 468"/>
              <a:gd name="T41" fmla="*/ 28575 h 288"/>
              <a:gd name="T42" fmla="*/ 58989 w 468"/>
              <a:gd name="T43" fmla="*/ 26194 h 288"/>
              <a:gd name="T44" fmla="*/ 55800 w 468"/>
              <a:gd name="T45" fmla="*/ 26194 h 288"/>
              <a:gd name="T46" fmla="*/ 55800 w 468"/>
              <a:gd name="T47" fmla="*/ 19050 h 288"/>
              <a:gd name="T48" fmla="*/ 48626 w 468"/>
              <a:gd name="T49" fmla="*/ 13494 h 288"/>
              <a:gd name="T50" fmla="*/ 31089 w 468"/>
              <a:gd name="T51" fmla="*/ 13494 h 288"/>
              <a:gd name="T52" fmla="*/ 20726 w 468"/>
              <a:gd name="T53" fmla="*/ 3969 h 288"/>
              <a:gd name="T54" fmla="*/ 14349 w 468"/>
              <a:gd name="T55" fmla="*/ 0 h 288"/>
              <a:gd name="T56" fmla="*/ 0 w 468"/>
              <a:gd name="T57" fmla="*/ 3969 h 288"/>
              <a:gd name="T58" fmla="*/ 0 w 468"/>
              <a:gd name="T59" fmla="*/ 28575 h 288"/>
              <a:gd name="T60" fmla="*/ 3986 w 468"/>
              <a:gd name="T61" fmla="*/ 28575 h 288"/>
              <a:gd name="T62" fmla="*/ 3986 w 468"/>
              <a:gd name="T63" fmla="*/ 26194 h 288"/>
              <a:gd name="T64" fmla="*/ 10363 w 468"/>
              <a:gd name="T65" fmla="*/ 22225 h 288"/>
              <a:gd name="T66" fmla="*/ 14349 w 468"/>
              <a:gd name="T67" fmla="*/ 22225 h 288"/>
              <a:gd name="T68" fmla="*/ 10363 w 468"/>
              <a:gd name="T69" fmla="*/ 19050 h 288"/>
              <a:gd name="T70" fmla="*/ 14349 w 468"/>
              <a:gd name="T71" fmla="*/ 19050 h 288"/>
              <a:gd name="T72" fmla="*/ 20726 w 468"/>
              <a:gd name="T73" fmla="*/ 22225 h 288"/>
              <a:gd name="T74" fmla="*/ 20726 w 468"/>
              <a:gd name="T75" fmla="*/ 28575 h 288"/>
              <a:gd name="T76" fmla="*/ 31089 w 468"/>
              <a:gd name="T77" fmla="*/ 28575 h 288"/>
              <a:gd name="T78" fmla="*/ 35074 w 468"/>
              <a:gd name="T79" fmla="*/ 38100 h 288"/>
              <a:gd name="T80" fmla="*/ 51814 w 468"/>
              <a:gd name="T81" fmla="*/ 47625 h 288"/>
              <a:gd name="T82" fmla="*/ 58989 w 468"/>
              <a:gd name="T83" fmla="*/ 51594 h 288"/>
              <a:gd name="T84" fmla="*/ 55800 w 468"/>
              <a:gd name="T85" fmla="*/ 57150 h 28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68"/>
              <a:gd name="T130" fmla="*/ 0 h 288"/>
              <a:gd name="T131" fmla="*/ 468 w 468"/>
              <a:gd name="T132" fmla="*/ 288 h 28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68" h="288">
                <a:moveTo>
                  <a:pt x="276" y="288"/>
                </a:moveTo>
                <a:lnTo>
                  <a:pt x="276" y="288"/>
                </a:lnTo>
                <a:lnTo>
                  <a:pt x="311" y="288"/>
                </a:lnTo>
                <a:lnTo>
                  <a:pt x="328" y="257"/>
                </a:lnTo>
                <a:lnTo>
                  <a:pt x="328" y="225"/>
                </a:lnTo>
                <a:lnTo>
                  <a:pt x="311" y="209"/>
                </a:lnTo>
                <a:lnTo>
                  <a:pt x="346" y="209"/>
                </a:lnTo>
                <a:lnTo>
                  <a:pt x="363" y="177"/>
                </a:lnTo>
                <a:lnTo>
                  <a:pt x="363" y="161"/>
                </a:lnTo>
                <a:lnTo>
                  <a:pt x="399" y="161"/>
                </a:lnTo>
                <a:lnTo>
                  <a:pt x="399" y="177"/>
                </a:lnTo>
                <a:lnTo>
                  <a:pt x="434" y="177"/>
                </a:lnTo>
                <a:lnTo>
                  <a:pt x="468" y="161"/>
                </a:lnTo>
                <a:lnTo>
                  <a:pt x="434" y="144"/>
                </a:lnTo>
                <a:lnTo>
                  <a:pt x="417" y="144"/>
                </a:lnTo>
                <a:lnTo>
                  <a:pt x="380" y="144"/>
                </a:lnTo>
                <a:lnTo>
                  <a:pt x="417" y="113"/>
                </a:lnTo>
                <a:lnTo>
                  <a:pt x="399" y="113"/>
                </a:lnTo>
                <a:lnTo>
                  <a:pt x="346" y="161"/>
                </a:lnTo>
                <a:lnTo>
                  <a:pt x="328" y="144"/>
                </a:lnTo>
                <a:lnTo>
                  <a:pt x="294" y="144"/>
                </a:lnTo>
                <a:lnTo>
                  <a:pt x="294" y="129"/>
                </a:lnTo>
                <a:lnTo>
                  <a:pt x="276" y="129"/>
                </a:lnTo>
                <a:lnTo>
                  <a:pt x="276" y="96"/>
                </a:lnTo>
                <a:lnTo>
                  <a:pt x="242" y="65"/>
                </a:lnTo>
                <a:lnTo>
                  <a:pt x="155" y="65"/>
                </a:lnTo>
                <a:lnTo>
                  <a:pt x="104" y="17"/>
                </a:lnTo>
                <a:lnTo>
                  <a:pt x="69" y="0"/>
                </a:lnTo>
                <a:lnTo>
                  <a:pt x="0" y="17"/>
                </a:lnTo>
                <a:lnTo>
                  <a:pt x="0" y="144"/>
                </a:lnTo>
                <a:lnTo>
                  <a:pt x="17" y="144"/>
                </a:lnTo>
                <a:lnTo>
                  <a:pt x="17" y="129"/>
                </a:lnTo>
                <a:lnTo>
                  <a:pt x="52" y="113"/>
                </a:lnTo>
                <a:lnTo>
                  <a:pt x="69" y="113"/>
                </a:lnTo>
                <a:lnTo>
                  <a:pt x="52" y="96"/>
                </a:lnTo>
                <a:lnTo>
                  <a:pt x="69" y="96"/>
                </a:lnTo>
                <a:lnTo>
                  <a:pt x="104" y="113"/>
                </a:lnTo>
                <a:lnTo>
                  <a:pt x="104" y="144"/>
                </a:lnTo>
                <a:lnTo>
                  <a:pt x="155" y="144"/>
                </a:lnTo>
                <a:lnTo>
                  <a:pt x="173" y="192"/>
                </a:lnTo>
                <a:lnTo>
                  <a:pt x="259" y="240"/>
                </a:lnTo>
                <a:lnTo>
                  <a:pt x="294" y="257"/>
                </a:lnTo>
                <a:lnTo>
                  <a:pt x="276" y="288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" name="Freeform 204"/>
          <p:cNvSpPr>
            <a:spLocks/>
          </p:cNvSpPr>
          <p:nvPr/>
        </p:nvSpPr>
        <p:spPr bwMode="auto">
          <a:xfrm>
            <a:off x="7270024" y="2349998"/>
            <a:ext cx="345556" cy="236951"/>
          </a:xfrm>
          <a:custGeom>
            <a:avLst/>
            <a:gdLst>
              <a:gd name="T0" fmla="*/ 35092 w 209"/>
              <a:gd name="T1" fmla="*/ 9525 h 144"/>
              <a:gd name="T2" fmla="*/ 35092 w 209"/>
              <a:gd name="T3" fmla="*/ 9525 h 144"/>
              <a:gd name="T4" fmla="*/ 35092 w 209"/>
              <a:gd name="T5" fmla="*/ 15081 h 144"/>
              <a:gd name="T6" fmla="*/ 42270 w 209"/>
              <a:gd name="T7" fmla="*/ 15081 h 144"/>
              <a:gd name="T8" fmla="*/ 42270 w 209"/>
              <a:gd name="T9" fmla="*/ 24606 h 144"/>
              <a:gd name="T10" fmla="*/ 31902 w 209"/>
              <a:gd name="T11" fmla="*/ 21431 h 144"/>
              <a:gd name="T12" fmla="*/ 24724 w 209"/>
              <a:gd name="T13" fmla="*/ 28575 h 144"/>
              <a:gd name="T14" fmla="*/ 21534 w 209"/>
              <a:gd name="T15" fmla="*/ 19050 h 144"/>
              <a:gd name="T16" fmla="*/ 17546 w 209"/>
              <a:gd name="T17" fmla="*/ 15081 h 144"/>
              <a:gd name="T18" fmla="*/ 14356 w 209"/>
              <a:gd name="T19" fmla="*/ 21431 h 144"/>
              <a:gd name="T20" fmla="*/ 11166 w 209"/>
              <a:gd name="T21" fmla="*/ 21431 h 144"/>
              <a:gd name="T22" fmla="*/ 11166 w 209"/>
              <a:gd name="T23" fmla="*/ 24606 h 144"/>
              <a:gd name="T24" fmla="*/ 3988 w 209"/>
              <a:gd name="T25" fmla="*/ 24606 h 144"/>
              <a:gd name="T26" fmla="*/ 0 w 209"/>
              <a:gd name="T27" fmla="*/ 24606 h 144"/>
              <a:gd name="T28" fmla="*/ 3988 w 209"/>
              <a:gd name="T29" fmla="*/ 19050 h 144"/>
              <a:gd name="T30" fmla="*/ 3988 w 209"/>
              <a:gd name="T31" fmla="*/ 12700 h 144"/>
              <a:gd name="T32" fmla="*/ 0 w 209"/>
              <a:gd name="T33" fmla="*/ 9525 h 144"/>
              <a:gd name="T34" fmla="*/ 7178 w 209"/>
              <a:gd name="T35" fmla="*/ 9525 h 144"/>
              <a:gd name="T36" fmla="*/ 11166 w 209"/>
              <a:gd name="T37" fmla="*/ 3175 h 144"/>
              <a:gd name="T38" fmla="*/ 11166 w 209"/>
              <a:gd name="T39" fmla="*/ 0 h 144"/>
              <a:gd name="T40" fmla="*/ 17546 w 209"/>
              <a:gd name="T41" fmla="*/ 0 h 144"/>
              <a:gd name="T42" fmla="*/ 17546 w 209"/>
              <a:gd name="T43" fmla="*/ 3175 h 144"/>
              <a:gd name="T44" fmla="*/ 17546 w 209"/>
              <a:gd name="T45" fmla="*/ 5556 h 144"/>
              <a:gd name="T46" fmla="*/ 11166 w 209"/>
              <a:gd name="T47" fmla="*/ 5556 h 144"/>
              <a:gd name="T48" fmla="*/ 11166 w 209"/>
              <a:gd name="T49" fmla="*/ 9525 h 144"/>
              <a:gd name="T50" fmla="*/ 21534 w 209"/>
              <a:gd name="T51" fmla="*/ 9525 h 144"/>
              <a:gd name="T52" fmla="*/ 24724 w 209"/>
              <a:gd name="T53" fmla="*/ 9525 h 144"/>
              <a:gd name="T54" fmla="*/ 35092 w 209"/>
              <a:gd name="T55" fmla="*/ 9525 h 14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9"/>
              <a:gd name="T85" fmla="*/ 0 h 144"/>
              <a:gd name="T86" fmla="*/ 209 w 209"/>
              <a:gd name="T87" fmla="*/ 144 h 14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9" h="144">
                <a:moveTo>
                  <a:pt x="175" y="48"/>
                </a:moveTo>
                <a:lnTo>
                  <a:pt x="175" y="48"/>
                </a:lnTo>
                <a:lnTo>
                  <a:pt x="175" y="79"/>
                </a:lnTo>
                <a:lnTo>
                  <a:pt x="209" y="79"/>
                </a:lnTo>
                <a:lnTo>
                  <a:pt x="209" y="127"/>
                </a:lnTo>
                <a:lnTo>
                  <a:pt x="157" y="111"/>
                </a:lnTo>
                <a:lnTo>
                  <a:pt x="123" y="144"/>
                </a:lnTo>
                <a:lnTo>
                  <a:pt x="106" y="96"/>
                </a:lnTo>
                <a:lnTo>
                  <a:pt x="88" y="79"/>
                </a:lnTo>
                <a:lnTo>
                  <a:pt x="71" y="111"/>
                </a:lnTo>
                <a:lnTo>
                  <a:pt x="54" y="111"/>
                </a:lnTo>
                <a:lnTo>
                  <a:pt x="54" y="127"/>
                </a:lnTo>
                <a:lnTo>
                  <a:pt x="17" y="127"/>
                </a:lnTo>
                <a:lnTo>
                  <a:pt x="0" y="127"/>
                </a:lnTo>
                <a:lnTo>
                  <a:pt x="17" y="96"/>
                </a:lnTo>
                <a:lnTo>
                  <a:pt x="17" y="64"/>
                </a:lnTo>
                <a:lnTo>
                  <a:pt x="0" y="48"/>
                </a:lnTo>
                <a:lnTo>
                  <a:pt x="35" y="48"/>
                </a:lnTo>
                <a:lnTo>
                  <a:pt x="54" y="16"/>
                </a:lnTo>
                <a:lnTo>
                  <a:pt x="54" y="0"/>
                </a:lnTo>
                <a:lnTo>
                  <a:pt x="88" y="0"/>
                </a:lnTo>
                <a:lnTo>
                  <a:pt x="88" y="16"/>
                </a:lnTo>
                <a:lnTo>
                  <a:pt x="88" y="31"/>
                </a:lnTo>
                <a:lnTo>
                  <a:pt x="54" y="31"/>
                </a:lnTo>
                <a:lnTo>
                  <a:pt x="54" y="48"/>
                </a:lnTo>
                <a:lnTo>
                  <a:pt x="106" y="48"/>
                </a:lnTo>
                <a:lnTo>
                  <a:pt x="123" y="48"/>
                </a:lnTo>
                <a:lnTo>
                  <a:pt x="175" y="48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6" name="Freeform 205"/>
          <p:cNvSpPr>
            <a:spLocks/>
          </p:cNvSpPr>
          <p:nvPr/>
        </p:nvSpPr>
        <p:spPr bwMode="auto">
          <a:xfrm>
            <a:off x="7358881" y="2215065"/>
            <a:ext cx="487067" cy="213916"/>
          </a:xfrm>
          <a:custGeom>
            <a:avLst/>
            <a:gdLst>
              <a:gd name="T0" fmla="*/ 58937 w 295"/>
              <a:gd name="T1" fmla="*/ 6449 h 128"/>
              <a:gd name="T2" fmla="*/ 58937 w 295"/>
              <a:gd name="T3" fmla="*/ 6449 h 128"/>
              <a:gd name="T4" fmla="*/ 58937 w 295"/>
              <a:gd name="T5" fmla="*/ 9674 h 128"/>
              <a:gd name="T6" fmla="*/ 48583 w 295"/>
              <a:gd name="T7" fmla="*/ 16929 h 128"/>
              <a:gd name="T8" fmla="*/ 41415 w 295"/>
              <a:gd name="T9" fmla="*/ 16929 h 128"/>
              <a:gd name="T10" fmla="*/ 38229 w 295"/>
              <a:gd name="T11" fmla="*/ 20154 h 128"/>
              <a:gd name="T12" fmla="*/ 31061 w 295"/>
              <a:gd name="T13" fmla="*/ 20154 h 128"/>
              <a:gd name="T14" fmla="*/ 24690 w 295"/>
              <a:gd name="T15" fmla="*/ 22572 h 128"/>
              <a:gd name="T16" fmla="*/ 24690 w 295"/>
              <a:gd name="T17" fmla="*/ 26603 h 128"/>
              <a:gd name="T18" fmla="*/ 14336 w 295"/>
              <a:gd name="T19" fmla="*/ 26603 h 128"/>
              <a:gd name="T20" fmla="*/ 10354 w 295"/>
              <a:gd name="T21" fmla="*/ 26603 h 128"/>
              <a:gd name="T22" fmla="*/ 0 w 295"/>
              <a:gd name="T23" fmla="*/ 26603 h 128"/>
              <a:gd name="T24" fmla="*/ 0 w 295"/>
              <a:gd name="T25" fmla="*/ 22572 h 128"/>
              <a:gd name="T26" fmla="*/ 7168 w 295"/>
              <a:gd name="T27" fmla="*/ 22572 h 128"/>
              <a:gd name="T28" fmla="*/ 7168 w 295"/>
              <a:gd name="T29" fmla="*/ 20154 h 128"/>
              <a:gd name="T30" fmla="*/ 14336 w 295"/>
              <a:gd name="T31" fmla="*/ 20154 h 128"/>
              <a:gd name="T32" fmla="*/ 20707 w 295"/>
              <a:gd name="T33" fmla="*/ 16929 h 128"/>
              <a:gd name="T34" fmla="*/ 14336 w 295"/>
              <a:gd name="T35" fmla="*/ 12899 h 128"/>
              <a:gd name="T36" fmla="*/ 10354 w 295"/>
              <a:gd name="T37" fmla="*/ 12899 h 128"/>
              <a:gd name="T38" fmla="*/ 3982 w 295"/>
              <a:gd name="T39" fmla="*/ 12899 h 128"/>
              <a:gd name="T40" fmla="*/ 10354 w 295"/>
              <a:gd name="T41" fmla="*/ 6449 h 128"/>
              <a:gd name="T42" fmla="*/ 7168 w 295"/>
              <a:gd name="T43" fmla="*/ 6449 h 128"/>
              <a:gd name="T44" fmla="*/ 10354 w 295"/>
              <a:gd name="T45" fmla="*/ 3225 h 128"/>
              <a:gd name="T46" fmla="*/ 20707 w 295"/>
              <a:gd name="T47" fmla="*/ 6449 h 128"/>
              <a:gd name="T48" fmla="*/ 20707 w 295"/>
              <a:gd name="T49" fmla="*/ 3225 h 128"/>
              <a:gd name="T50" fmla="*/ 24690 w 295"/>
              <a:gd name="T51" fmla="*/ 0 h 128"/>
              <a:gd name="T52" fmla="*/ 31061 w 295"/>
              <a:gd name="T53" fmla="*/ 3225 h 128"/>
              <a:gd name="T54" fmla="*/ 51769 w 295"/>
              <a:gd name="T55" fmla="*/ 3225 h 128"/>
              <a:gd name="T56" fmla="*/ 58937 w 295"/>
              <a:gd name="T57" fmla="*/ 6449 h 12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95"/>
              <a:gd name="T88" fmla="*/ 0 h 128"/>
              <a:gd name="T89" fmla="*/ 295 w 295"/>
              <a:gd name="T90" fmla="*/ 128 h 12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95" h="128">
                <a:moveTo>
                  <a:pt x="295" y="32"/>
                </a:moveTo>
                <a:lnTo>
                  <a:pt x="295" y="32"/>
                </a:lnTo>
                <a:lnTo>
                  <a:pt x="295" y="48"/>
                </a:lnTo>
                <a:lnTo>
                  <a:pt x="242" y="80"/>
                </a:lnTo>
                <a:lnTo>
                  <a:pt x="207" y="80"/>
                </a:lnTo>
                <a:lnTo>
                  <a:pt x="190" y="96"/>
                </a:lnTo>
                <a:lnTo>
                  <a:pt x="155" y="96"/>
                </a:lnTo>
                <a:lnTo>
                  <a:pt x="121" y="111"/>
                </a:lnTo>
                <a:lnTo>
                  <a:pt x="121" y="128"/>
                </a:lnTo>
                <a:lnTo>
                  <a:pt x="69" y="128"/>
                </a:lnTo>
                <a:lnTo>
                  <a:pt x="52" y="128"/>
                </a:lnTo>
                <a:lnTo>
                  <a:pt x="0" y="128"/>
                </a:lnTo>
                <a:lnTo>
                  <a:pt x="0" y="111"/>
                </a:lnTo>
                <a:lnTo>
                  <a:pt x="34" y="111"/>
                </a:lnTo>
                <a:lnTo>
                  <a:pt x="34" y="96"/>
                </a:lnTo>
                <a:lnTo>
                  <a:pt x="69" y="96"/>
                </a:lnTo>
                <a:lnTo>
                  <a:pt x="103" y="80"/>
                </a:lnTo>
                <a:lnTo>
                  <a:pt x="69" y="63"/>
                </a:lnTo>
                <a:lnTo>
                  <a:pt x="52" y="63"/>
                </a:lnTo>
                <a:lnTo>
                  <a:pt x="17" y="63"/>
                </a:lnTo>
                <a:lnTo>
                  <a:pt x="52" y="32"/>
                </a:lnTo>
                <a:lnTo>
                  <a:pt x="34" y="32"/>
                </a:lnTo>
                <a:lnTo>
                  <a:pt x="52" y="15"/>
                </a:lnTo>
                <a:lnTo>
                  <a:pt x="103" y="32"/>
                </a:lnTo>
                <a:lnTo>
                  <a:pt x="103" y="15"/>
                </a:lnTo>
                <a:lnTo>
                  <a:pt x="121" y="0"/>
                </a:lnTo>
                <a:lnTo>
                  <a:pt x="155" y="15"/>
                </a:lnTo>
                <a:lnTo>
                  <a:pt x="259" y="15"/>
                </a:lnTo>
                <a:lnTo>
                  <a:pt x="295" y="32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Line 192"/>
          <p:cNvSpPr>
            <a:spLocks noChangeShapeType="1"/>
          </p:cNvSpPr>
          <p:nvPr/>
        </p:nvSpPr>
        <p:spPr bwMode="auto">
          <a:xfrm>
            <a:off x="6661189" y="3728923"/>
            <a:ext cx="26328" cy="0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Freeform 207"/>
          <p:cNvSpPr>
            <a:spLocks/>
          </p:cNvSpPr>
          <p:nvPr/>
        </p:nvSpPr>
        <p:spPr bwMode="auto">
          <a:xfrm>
            <a:off x="6216907" y="2399362"/>
            <a:ext cx="855659" cy="737183"/>
          </a:xfrm>
          <a:custGeom>
            <a:avLst/>
            <a:gdLst>
              <a:gd name="T0" fmla="*/ 96044 w 520"/>
              <a:gd name="T1" fmla="*/ 88702 h 449"/>
              <a:gd name="T2" fmla="*/ 96044 w 520"/>
              <a:gd name="T3" fmla="*/ 88702 h 449"/>
              <a:gd name="T4" fmla="*/ 72231 w 520"/>
              <a:gd name="T5" fmla="*/ 85534 h 449"/>
              <a:gd name="T6" fmla="*/ 68262 w 520"/>
              <a:gd name="T7" fmla="*/ 79198 h 449"/>
              <a:gd name="T8" fmla="*/ 57944 w 520"/>
              <a:gd name="T9" fmla="*/ 82366 h 449"/>
              <a:gd name="T10" fmla="*/ 51594 w 520"/>
              <a:gd name="T11" fmla="*/ 82366 h 449"/>
              <a:gd name="T12" fmla="*/ 40481 w 520"/>
              <a:gd name="T13" fmla="*/ 72862 h 449"/>
              <a:gd name="T14" fmla="*/ 34131 w 520"/>
              <a:gd name="T15" fmla="*/ 63359 h 449"/>
              <a:gd name="T16" fmla="*/ 26987 w 520"/>
              <a:gd name="T17" fmla="*/ 60191 h 449"/>
              <a:gd name="T18" fmla="*/ 23812 w 520"/>
              <a:gd name="T19" fmla="*/ 60191 h 449"/>
              <a:gd name="T20" fmla="*/ 19844 w 520"/>
              <a:gd name="T21" fmla="*/ 57023 h 449"/>
              <a:gd name="T22" fmla="*/ 16669 w 520"/>
              <a:gd name="T23" fmla="*/ 47519 h 449"/>
              <a:gd name="T24" fmla="*/ 10319 w 520"/>
              <a:gd name="T25" fmla="*/ 44351 h 449"/>
              <a:gd name="T26" fmla="*/ 6350 w 520"/>
              <a:gd name="T27" fmla="*/ 38015 h 449"/>
              <a:gd name="T28" fmla="*/ 10319 w 520"/>
              <a:gd name="T29" fmla="*/ 31679 h 449"/>
              <a:gd name="T30" fmla="*/ 10319 w 520"/>
              <a:gd name="T31" fmla="*/ 25343 h 449"/>
              <a:gd name="T32" fmla="*/ 6350 w 520"/>
              <a:gd name="T33" fmla="*/ 25343 h 449"/>
              <a:gd name="T34" fmla="*/ 3175 w 520"/>
              <a:gd name="T35" fmla="*/ 19008 h 449"/>
              <a:gd name="T36" fmla="*/ 0 w 520"/>
              <a:gd name="T37" fmla="*/ 3168 h 449"/>
              <a:gd name="T38" fmla="*/ 3175 w 520"/>
              <a:gd name="T39" fmla="*/ 0 h 449"/>
              <a:gd name="T40" fmla="*/ 6350 w 520"/>
              <a:gd name="T41" fmla="*/ 6336 h 449"/>
              <a:gd name="T42" fmla="*/ 10319 w 520"/>
              <a:gd name="T43" fmla="*/ 6336 h 449"/>
              <a:gd name="T44" fmla="*/ 13494 w 520"/>
              <a:gd name="T45" fmla="*/ 6336 h 449"/>
              <a:gd name="T46" fmla="*/ 19844 w 520"/>
              <a:gd name="T47" fmla="*/ 3168 h 449"/>
              <a:gd name="T48" fmla="*/ 23812 w 520"/>
              <a:gd name="T49" fmla="*/ 3168 h 449"/>
              <a:gd name="T50" fmla="*/ 19844 w 520"/>
              <a:gd name="T51" fmla="*/ 6336 h 449"/>
              <a:gd name="T52" fmla="*/ 26987 w 520"/>
              <a:gd name="T53" fmla="*/ 9504 h 449"/>
              <a:gd name="T54" fmla="*/ 26987 w 520"/>
              <a:gd name="T55" fmla="*/ 15840 h 449"/>
              <a:gd name="T56" fmla="*/ 40481 w 520"/>
              <a:gd name="T57" fmla="*/ 22176 h 449"/>
              <a:gd name="T58" fmla="*/ 54769 w 520"/>
              <a:gd name="T59" fmla="*/ 22176 h 449"/>
              <a:gd name="T60" fmla="*/ 54769 w 520"/>
              <a:gd name="T61" fmla="*/ 15840 h 449"/>
              <a:gd name="T62" fmla="*/ 61119 w 520"/>
              <a:gd name="T63" fmla="*/ 12672 h 449"/>
              <a:gd name="T64" fmla="*/ 72231 w 520"/>
              <a:gd name="T65" fmla="*/ 12672 h 449"/>
              <a:gd name="T66" fmla="*/ 92869 w 520"/>
              <a:gd name="T67" fmla="*/ 22176 h 449"/>
              <a:gd name="T68" fmla="*/ 92869 w 520"/>
              <a:gd name="T69" fmla="*/ 25343 h 449"/>
              <a:gd name="T70" fmla="*/ 92869 w 520"/>
              <a:gd name="T71" fmla="*/ 28511 h 449"/>
              <a:gd name="T72" fmla="*/ 92869 w 520"/>
              <a:gd name="T73" fmla="*/ 31679 h 449"/>
              <a:gd name="T74" fmla="*/ 88900 w 520"/>
              <a:gd name="T75" fmla="*/ 38015 h 449"/>
              <a:gd name="T76" fmla="*/ 88900 w 520"/>
              <a:gd name="T77" fmla="*/ 50687 h 449"/>
              <a:gd name="T78" fmla="*/ 96044 w 520"/>
              <a:gd name="T79" fmla="*/ 53855 h 449"/>
              <a:gd name="T80" fmla="*/ 96044 w 520"/>
              <a:gd name="T81" fmla="*/ 57023 h 449"/>
              <a:gd name="T82" fmla="*/ 92869 w 520"/>
              <a:gd name="T83" fmla="*/ 63359 h 449"/>
              <a:gd name="T84" fmla="*/ 96044 w 520"/>
              <a:gd name="T85" fmla="*/ 69694 h 449"/>
              <a:gd name="T86" fmla="*/ 99219 w 520"/>
              <a:gd name="T87" fmla="*/ 72862 h 449"/>
              <a:gd name="T88" fmla="*/ 103188 w 520"/>
              <a:gd name="T89" fmla="*/ 79198 h 449"/>
              <a:gd name="T90" fmla="*/ 96044 w 520"/>
              <a:gd name="T91" fmla="*/ 82366 h 449"/>
              <a:gd name="T92" fmla="*/ 96044 w 520"/>
              <a:gd name="T93" fmla="*/ 88702 h 44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520"/>
              <a:gd name="T142" fmla="*/ 0 h 449"/>
              <a:gd name="T143" fmla="*/ 520 w 520"/>
              <a:gd name="T144" fmla="*/ 449 h 44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520" h="449">
                <a:moveTo>
                  <a:pt x="485" y="449"/>
                </a:moveTo>
                <a:lnTo>
                  <a:pt x="485" y="449"/>
                </a:lnTo>
                <a:lnTo>
                  <a:pt x="364" y="432"/>
                </a:lnTo>
                <a:lnTo>
                  <a:pt x="345" y="401"/>
                </a:lnTo>
                <a:lnTo>
                  <a:pt x="293" y="416"/>
                </a:lnTo>
                <a:lnTo>
                  <a:pt x="259" y="416"/>
                </a:lnTo>
                <a:lnTo>
                  <a:pt x="207" y="368"/>
                </a:lnTo>
                <a:lnTo>
                  <a:pt x="172" y="320"/>
                </a:lnTo>
                <a:lnTo>
                  <a:pt x="138" y="305"/>
                </a:lnTo>
                <a:lnTo>
                  <a:pt x="121" y="305"/>
                </a:lnTo>
                <a:lnTo>
                  <a:pt x="103" y="288"/>
                </a:lnTo>
                <a:lnTo>
                  <a:pt x="86" y="240"/>
                </a:lnTo>
                <a:lnTo>
                  <a:pt x="52" y="224"/>
                </a:lnTo>
                <a:lnTo>
                  <a:pt x="34" y="192"/>
                </a:lnTo>
                <a:lnTo>
                  <a:pt x="52" y="161"/>
                </a:lnTo>
                <a:lnTo>
                  <a:pt x="52" y="128"/>
                </a:lnTo>
                <a:lnTo>
                  <a:pt x="34" y="128"/>
                </a:lnTo>
                <a:lnTo>
                  <a:pt x="17" y="96"/>
                </a:lnTo>
                <a:lnTo>
                  <a:pt x="0" y="17"/>
                </a:lnTo>
                <a:lnTo>
                  <a:pt x="17" y="0"/>
                </a:lnTo>
                <a:lnTo>
                  <a:pt x="34" y="33"/>
                </a:lnTo>
                <a:lnTo>
                  <a:pt x="52" y="33"/>
                </a:lnTo>
                <a:lnTo>
                  <a:pt x="69" y="33"/>
                </a:lnTo>
                <a:lnTo>
                  <a:pt x="103" y="17"/>
                </a:lnTo>
                <a:lnTo>
                  <a:pt x="121" y="17"/>
                </a:lnTo>
                <a:lnTo>
                  <a:pt x="103" y="33"/>
                </a:lnTo>
                <a:lnTo>
                  <a:pt x="138" y="48"/>
                </a:lnTo>
                <a:lnTo>
                  <a:pt x="138" y="80"/>
                </a:lnTo>
                <a:lnTo>
                  <a:pt x="207" y="113"/>
                </a:lnTo>
                <a:lnTo>
                  <a:pt x="276" y="113"/>
                </a:lnTo>
                <a:lnTo>
                  <a:pt x="276" y="80"/>
                </a:lnTo>
                <a:lnTo>
                  <a:pt x="311" y="65"/>
                </a:lnTo>
                <a:lnTo>
                  <a:pt x="364" y="65"/>
                </a:lnTo>
                <a:lnTo>
                  <a:pt x="468" y="113"/>
                </a:lnTo>
                <a:lnTo>
                  <a:pt x="468" y="128"/>
                </a:lnTo>
                <a:lnTo>
                  <a:pt x="468" y="144"/>
                </a:lnTo>
                <a:lnTo>
                  <a:pt x="468" y="161"/>
                </a:lnTo>
                <a:lnTo>
                  <a:pt x="451" y="192"/>
                </a:lnTo>
                <a:lnTo>
                  <a:pt x="451" y="257"/>
                </a:lnTo>
                <a:lnTo>
                  <a:pt x="485" y="272"/>
                </a:lnTo>
                <a:lnTo>
                  <a:pt x="485" y="288"/>
                </a:lnTo>
                <a:lnTo>
                  <a:pt x="468" y="320"/>
                </a:lnTo>
                <a:lnTo>
                  <a:pt x="485" y="353"/>
                </a:lnTo>
                <a:lnTo>
                  <a:pt x="503" y="368"/>
                </a:lnTo>
                <a:lnTo>
                  <a:pt x="520" y="401"/>
                </a:lnTo>
                <a:lnTo>
                  <a:pt x="485" y="416"/>
                </a:lnTo>
                <a:lnTo>
                  <a:pt x="485" y="449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Freeform 208"/>
          <p:cNvSpPr>
            <a:spLocks/>
          </p:cNvSpPr>
          <p:nvPr/>
        </p:nvSpPr>
        <p:spPr bwMode="auto">
          <a:xfrm>
            <a:off x="6016155" y="2215065"/>
            <a:ext cx="315935" cy="105312"/>
          </a:xfrm>
          <a:custGeom>
            <a:avLst/>
            <a:gdLst>
              <a:gd name="T0" fmla="*/ 10319 w 192"/>
              <a:gd name="T1" fmla="*/ 12902 h 63"/>
              <a:gd name="T2" fmla="*/ 10319 w 192"/>
              <a:gd name="T3" fmla="*/ 12902 h 63"/>
              <a:gd name="T4" fmla="*/ 10319 w 192"/>
              <a:gd name="T5" fmla="*/ 9676 h 63"/>
              <a:gd name="T6" fmla="*/ 10319 w 192"/>
              <a:gd name="T7" fmla="*/ 6451 h 63"/>
              <a:gd name="T8" fmla="*/ 0 w 192"/>
              <a:gd name="T9" fmla="*/ 0 h 63"/>
              <a:gd name="T10" fmla="*/ 17463 w 192"/>
              <a:gd name="T11" fmla="*/ 0 h 63"/>
              <a:gd name="T12" fmla="*/ 23812 w 192"/>
              <a:gd name="T13" fmla="*/ 3225 h 63"/>
              <a:gd name="T14" fmla="*/ 31750 w 192"/>
              <a:gd name="T15" fmla="*/ 3225 h 63"/>
              <a:gd name="T16" fmla="*/ 38100 w 192"/>
              <a:gd name="T17" fmla="*/ 9676 h 63"/>
              <a:gd name="T18" fmla="*/ 34925 w 192"/>
              <a:gd name="T19" fmla="*/ 9676 h 63"/>
              <a:gd name="T20" fmla="*/ 38100 w 192"/>
              <a:gd name="T21" fmla="*/ 12902 h 63"/>
              <a:gd name="T22" fmla="*/ 31750 w 192"/>
              <a:gd name="T23" fmla="*/ 12902 h 63"/>
              <a:gd name="T24" fmla="*/ 27781 w 192"/>
              <a:gd name="T25" fmla="*/ 12902 h 63"/>
              <a:gd name="T26" fmla="*/ 20637 w 192"/>
              <a:gd name="T27" fmla="*/ 12902 h 63"/>
              <a:gd name="T28" fmla="*/ 10319 w 192"/>
              <a:gd name="T29" fmla="*/ 12902 h 6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92"/>
              <a:gd name="T46" fmla="*/ 0 h 63"/>
              <a:gd name="T47" fmla="*/ 192 w 192"/>
              <a:gd name="T48" fmla="*/ 63 h 6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92" h="63">
                <a:moveTo>
                  <a:pt x="54" y="63"/>
                </a:moveTo>
                <a:lnTo>
                  <a:pt x="54" y="63"/>
                </a:lnTo>
                <a:lnTo>
                  <a:pt x="54" y="48"/>
                </a:lnTo>
                <a:lnTo>
                  <a:pt x="54" y="32"/>
                </a:lnTo>
                <a:lnTo>
                  <a:pt x="0" y="0"/>
                </a:lnTo>
                <a:lnTo>
                  <a:pt x="88" y="0"/>
                </a:lnTo>
                <a:lnTo>
                  <a:pt x="123" y="15"/>
                </a:lnTo>
                <a:lnTo>
                  <a:pt x="157" y="15"/>
                </a:lnTo>
                <a:lnTo>
                  <a:pt x="192" y="48"/>
                </a:lnTo>
                <a:lnTo>
                  <a:pt x="175" y="48"/>
                </a:lnTo>
                <a:lnTo>
                  <a:pt x="192" y="63"/>
                </a:lnTo>
                <a:lnTo>
                  <a:pt x="157" y="63"/>
                </a:lnTo>
                <a:lnTo>
                  <a:pt x="140" y="63"/>
                </a:lnTo>
                <a:lnTo>
                  <a:pt x="105" y="63"/>
                </a:lnTo>
                <a:lnTo>
                  <a:pt x="54" y="63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0" name="Freeform 209"/>
          <p:cNvSpPr>
            <a:spLocks/>
          </p:cNvSpPr>
          <p:nvPr/>
        </p:nvSpPr>
        <p:spPr bwMode="auto">
          <a:xfrm>
            <a:off x="6190578" y="2320377"/>
            <a:ext cx="141514" cy="131640"/>
          </a:xfrm>
          <a:custGeom>
            <a:avLst/>
            <a:gdLst>
              <a:gd name="T0" fmla="*/ 16477 w 87"/>
              <a:gd name="T1" fmla="*/ 15679 h 81"/>
              <a:gd name="T2" fmla="*/ 16477 w 87"/>
              <a:gd name="T3" fmla="*/ 15679 h 81"/>
              <a:gd name="T4" fmla="*/ 16477 w 87"/>
              <a:gd name="T5" fmla="*/ 12543 h 81"/>
              <a:gd name="T6" fmla="*/ 13339 w 87"/>
              <a:gd name="T7" fmla="*/ 9407 h 81"/>
              <a:gd name="T8" fmla="*/ 13339 w 87"/>
              <a:gd name="T9" fmla="*/ 6272 h 81"/>
              <a:gd name="T10" fmla="*/ 6277 w 87"/>
              <a:gd name="T11" fmla="*/ 0 h 81"/>
              <a:gd name="T12" fmla="*/ 0 w 87"/>
              <a:gd name="T13" fmla="*/ 0 h 81"/>
              <a:gd name="T14" fmla="*/ 3139 w 87"/>
              <a:gd name="T15" fmla="*/ 9407 h 81"/>
              <a:gd name="T16" fmla="*/ 6277 w 87"/>
              <a:gd name="T17" fmla="*/ 9407 h 81"/>
              <a:gd name="T18" fmla="*/ 13339 w 87"/>
              <a:gd name="T19" fmla="*/ 12543 h 81"/>
              <a:gd name="T20" fmla="*/ 13339 w 87"/>
              <a:gd name="T21" fmla="*/ 15679 h 81"/>
              <a:gd name="T22" fmla="*/ 16477 w 87"/>
              <a:gd name="T23" fmla="*/ 15679 h 8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7"/>
              <a:gd name="T37" fmla="*/ 0 h 81"/>
              <a:gd name="T38" fmla="*/ 87 w 87"/>
              <a:gd name="T39" fmla="*/ 81 h 8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7" h="81">
                <a:moveTo>
                  <a:pt x="87" y="81"/>
                </a:moveTo>
                <a:lnTo>
                  <a:pt x="87" y="81"/>
                </a:lnTo>
                <a:lnTo>
                  <a:pt x="87" y="65"/>
                </a:lnTo>
                <a:lnTo>
                  <a:pt x="70" y="48"/>
                </a:lnTo>
                <a:lnTo>
                  <a:pt x="70" y="33"/>
                </a:lnTo>
                <a:lnTo>
                  <a:pt x="35" y="0"/>
                </a:lnTo>
                <a:lnTo>
                  <a:pt x="0" y="0"/>
                </a:lnTo>
                <a:lnTo>
                  <a:pt x="18" y="48"/>
                </a:lnTo>
                <a:lnTo>
                  <a:pt x="35" y="48"/>
                </a:lnTo>
                <a:lnTo>
                  <a:pt x="70" y="65"/>
                </a:lnTo>
                <a:lnTo>
                  <a:pt x="70" y="81"/>
                </a:lnTo>
                <a:lnTo>
                  <a:pt x="87" y="81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Freeform 210"/>
          <p:cNvSpPr>
            <a:spLocks/>
          </p:cNvSpPr>
          <p:nvPr/>
        </p:nvSpPr>
        <p:spPr bwMode="auto">
          <a:xfrm>
            <a:off x="6246524" y="2294049"/>
            <a:ext cx="259990" cy="184296"/>
          </a:xfrm>
          <a:custGeom>
            <a:avLst/>
            <a:gdLst>
              <a:gd name="T0" fmla="*/ 10385 w 157"/>
              <a:gd name="T1" fmla="*/ 19222 h 111"/>
              <a:gd name="T2" fmla="*/ 10385 w 157"/>
              <a:gd name="T3" fmla="*/ 19222 h 111"/>
              <a:gd name="T4" fmla="*/ 17574 w 157"/>
              <a:gd name="T5" fmla="*/ 16018 h 111"/>
              <a:gd name="T6" fmla="*/ 20769 w 157"/>
              <a:gd name="T7" fmla="*/ 16018 h 111"/>
              <a:gd name="T8" fmla="*/ 17574 w 157"/>
              <a:gd name="T9" fmla="*/ 19222 h 111"/>
              <a:gd name="T10" fmla="*/ 24763 w 157"/>
              <a:gd name="T11" fmla="*/ 22425 h 111"/>
              <a:gd name="T12" fmla="*/ 20769 w 157"/>
              <a:gd name="T13" fmla="*/ 19222 h 111"/>
              <a:gd name="T14" fmla="*/ 24763 w 157"/>
              <a:gd name="T15" fmla="*/ 19222 h 111"/>
              <a:gd name="T16" fmla="*/ 24763 w 157"/>
              <a:gd name="T17" fmla="*/ 12814 h 111"/>
              <a:gd name="T18" fmla="*/ 31952 w 157"/>
              <a:gd name="T19" fmla="*/ 9611 h 111"/>
              <a:gd name="T20" fmla="*/ 24763 w 157"/>
              <a:gd name="T21" fmla="*/ 6407 h 111"/>
              <a:gd name="T22" fmla="*/ 20769 w 157"/>
              <a:gd name="T23" fmla="*/ 0 h 111"/>
              <a:gd name="T24" fmla="*/ 17574 w 157"/>
              <a:gd name="T25" fmla="*/ 3204 h 111"/>
              <a:gd name="T26" fmla="*/ 14379 w 157"/>
              <a:gd name="T27" fmla="*/ 3204 h 111"/>
              <a:gd name="T28" fmla="*/ 10385 w 157"/>
              <a:gd name="T29" fmla="*/ 0 h 111"/>
              <a:gd name="T30" fmla="*/ 7189 w 157"/>
              <a:gd name="T31" fmla="*/ 0 h 111"/>
              <a:gd name="T32" fmla="*/ 10385 w 157"/>
              <a:gd name="T33" fmla="*/ 3204 h 111"/>
              <a:gd name="T34" fmla="*/ 3994 w 157"/>
              <a:gd name="T35" fmla="*/ 3204 h 111"/>
              <a:gd name="T36" fmla="*/ 0 w 157"/>
              <a:gd name="T37" fmla="*/ 3204 h 111"/>
              <a:gd name="T38" fmla="*/ 7189 w 157"/>
              <a:gd name="T39" fmla="*/ 9611 h 111"/>
              <a:gd name="T40" fmla="*/ 7189 w 157"/>
              <a:gd name="T41" fmla="*/ 12814 h 111"/>
              <a:gd name="T42" fmla="*/ 10385 w 157"/>
              <a:gd name="T43" fmla="*/ 16018 h 111"/>
              <a:gd name="T44" fmla="*/ 10385 w 157"/>
              <a:gd name="T45" fmla="*/ 19222 h 1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7"/>
              <a:gd name="T70" fmla="*/ 0 h 111"/>
              <a:gd name="T71" fmla="*/ 157 w 157"/>
              <a:gd name="T72" fmla="*/ 111 h 1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7" h="111">
                <a:moveTo>
                  <a:pt x="52" y="96"/>
                </a:moveTo>
                <a:lnTo>
                  <a:pt x="52" y="96"/>
                </a:lnTo>
                <a:lnTo>
                  <a:pt x="86" y="80"/>
                </a:lnTo>
                <a:lnTo>
                  <a:pt x="104" y="80"/>
                </a:lnTo>
                <a:lnTo>
                  <a:pt x="86" y="96"/>
                </a:lnTo>
                <a:lnTo>
                  <a:pt x="121" y="111"/>
                </a:lnTo>
                <a:lnTo>
                  <a:pt x="104" y="96"/>
                </a:lnTo>
                <a:lnTo>
                  <a:pt x="121" y="96"/>
                </a:lnTo>
                <a:lnTo>
                  <a:pt x="121" y="63"/>
                </a:lnTo>
                <a:lnTo>
                  <a:pt x="157" y="48"/>
                </a:lnTo>
                <a:lnTo>
                  <a:pt x="121" y="32"/>
                </a:lnTo>
                <a:lnTo>
                  <a:pt x="104" y="0"/>
                </a:lnTo>
                <a:lnTo>
                  <a:pt x="86" y="15"/>
                </a:lnTo>
                <a:lnTo>
                  <a:pt x="69" y="15"/>
                </a:lnTo>
                <a:lnTo>
                  <a:pt x="52" y="0"/>
                </a:lnTo>
                <a:lnTo>
                  <a:pt x="35" y="0"/>
                </a:lnTo>
                <a:lnTo>
                  <a:pt x="52" y="15"/>
                </a:lnTo>
                <a:lnTo>
                  <a:pt x="17" y="15"/>
                </a:lnTo>
                <a:lnTo>
                  <a:pt x="0" y="15"/>
                </a:lnTo>
                <a:lnTo>
                  <a:pt x="35" y="48"/>
                </a:lnTo>
                <a:lnTo>
                  <a:pt x="35" y="63"/>
                </a:lnTo>
                <a:lnTo>
                  <a:pt x="52" y="80"/>
                </a:lnTo>
                <a:lnTo>
                  <a:pt x="52" y="96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Freeform 211"/>
          <p:cNvSpPr>
            <a:spLocks/>
          </p:cNvSpPr>
          <p:nvPr/>
        </p:nvSpPr>
        <p:spPr bwMode="auto">
          <a:xfrm>
            <a:off x="6243234" y="2925920"/>
            <a:ext cx="85566" cy="52656"/>
          </a:xfrm>
          <a:custGeom>
            <a:avLst/>
            <a:gdLst>
              <a:gd name="T0" fmla="*/ 0 w 52"/>
              <a:gd name="T1" fmla="*/ 3079 h 33"/>
              <a:gd name="T2" fmla="*/ 0 w 52"/>
              <a:gd name="T3" fmla="*/ 3079 h 33"/>
              <a:gd name="T4" fmla="*/ 3969 w 52"/>
              <a:gd name="T5" fmla="*/ 0 h 33"/>
              <a:gd name="T6" fmla="*/ 10319 w 52"/>
              <a:gd name="T7" fmla="*/ 3079 h 33"/>
              <a:gd name="T8" fmla="*/ 3969 w 52"/>
              <a:gd name="T9" fmla="*/ 6158 h 33"/>
              <a:gd name="T10" fmla="*/ 0 w 52"/>
              <a:gd name="T11" fmla="*/ 3079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2"/>
              <a:gd name="T19" fmla="*/ 0 h 33"/>
              <a:gd name="T20" fmla="*/ 52 w 52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2" h="33">
                <a:moveTo>
                  <a:pt x="0" y="16"/>
                </a:moveTo>
                <a:lnTo>
                  <a:pt x="0" y="16"/>
                </a:lnTo>
                <a:lnTo>
                  <a:pt x="17" y="0"/>
                </a:lnTo>
                <a:lnTo>
                  <a:pt x="52" y="16"/>
                </a:lnTo>
                <a:lnTo>
                  <a:pt x="17" y="33"/>
                </a:lnTo>
                <a:lnTo>
                  <a:pt x="0" y="16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Freeform 212"/>
          <p:cNvSpPr>
            <a:spLocks/>
          </p:cNvSpPr>
          <p:nvPr/>
        </p:nvSpPr>
        <p:spPr bwMode="auto">
          <a:xfrm>
            <a:off x="5792367" y="2794281"/>
            <a:ext cx="993881" cy="842495"/>
          </a:xfrm>
          <a:custGeom>
            <a:avLst/>
            <a:gdLst>
              <a:gd name="T0" fmla="*/ 99219 w 604"/>
              <a:gd name="T1" fmla="*/ 82550 h 512"/>
              <a:gd name="T2" fmla="*/ 99219 w 604"/>
              <a:gd name="T3" fmla="*/ 82550 h 512"/>
              <a:gd name="T4" fmla="*/ 103188 w 604"/>
              <a:gd name="T5" fmla="*/ 79375 h 512"/>
              <a:gd name="T6" fmla="*/ 106363 w 604"/>
              <a:gd name="T7" fmla="*/ 76200 h 512"/>
              <a:gd name="T8" fmla="*/ 109538 w 604"/>
              <a:gd name="T9" fmla="*/ 73025 h 512"/>
              <a:gd name="T10" fmla="*/ 113506 w 604"/>
              <a:gd name="T11" fmla="*/ 69850 h 512"/>
              <a:gd name="T12" fmla="*/ 116681 w 604"/>
              <a:gd name="T13" fmla="*/ 66675 h 512"/>
              <a:gd name="T14" fmla="*/ 119856 w 604"/>
              <a:gd name="T15" fmla="*/ 66675 h 512"/>
              <a:gd name="T16" fmla="*/ 119856 w 604"/>
              <a:gd name="T17" fmla="*/ 63500 h 512"/>
              <a:gd name="T18" fmla="*/ 119856 w 604"/>
              <a:gd name="T19" fmla="*/ 60325 h 512"/>
              <a:gd name="T20" fmla="*/ 119856 w 604"/>
              <a:gd name="T21" fmla="*/ 57150 h 512"/>
              <a:gd name="T22" fmla="*/ 116681 w 604"/>
              <a:gd name="T23" fmla="*/ 53975 h 512"/>
              <a:gd name="T24" fmla="*/ 113506 w 604"/>
              <a:gd name="T25" fmla="*/ 50800 h 512"/>
              <a:gd name="T26" fmla="*/ 109538 w 604"/>
              <a:gd name="T27" fmla="*/ 50800 h 512"/>
              <a:gd name="T28" fmla="*/ 106363 w 604"/>
              <a:gd name="T29" fmla="*/ 50800 h 512"/>
              <a:gd name="T30" fmla="*/ 106363 w 604"/>
              <a:gd name="T31" fmla="*/ 53975 h 512"/>
              <a:gd name="T32" fmla="*/ 103188 w 604"/>
              <a:gd name="T33" fmla="*/ 53975 h 512"/>
              <a:gd name="T34" fmla="*/ 99219 w 604"/>
              <a:gd name="T35" fmla="*/ 53975 h 512"/>
              <a:gd name="T36" fmla="*/ 95250 w 604"/>
              <a:gd name="T37" fmla="*/ 53975 h 512"/>
              <a:gd name="T38" fmla="*/ 92075 w 604"/>
              <a:gd name="T39" fmla="*/ 53975 h 512"/>
              <a:gd name="T40" fmla="*/ 88900 w 604"/>
              <a:gd name="T41" fmla="*/ 53975 h 512"/>
              <a:gd name="T42" fmla="*/ 84931 w 604"/>
              <a:gd name="T43" fmla="*/ 50800 h 512"/>
              <a:gd name="T44" fmla="*/ 88900 w 604"/>
              <a:gd name="T45" fmla="*/ 47625 h 512"/>
              <a:gd name="T46" fmla="*/ 84931 w 604"/>
              <a:gd name="T47" fmla="*/ 41275 h 512"/>
              <a:gd name="T48" fmla="*/ 84931 w 604"/>
              <a:gd name="T49" fmla="*/ 31750 h 512"/>
              <a:gd name="T50" fmla="*/ 75406 w 604"/>
              <a:gd name="T51" fmla="*/ 22225 h 512"/>
              <a:gd name="T52" fmla="*/ 65087 w 604"/>
              <a:gd name="T53" fmla="*/ 19050 h 512"/>
              <a:gd name="T54" fmla="*/ 58738 w 604"/>
              <a:gd name="T55" fmla="*/ 22225 h 512"/>
              <a:gd name="T56" fmla="*/ 54769 w 604"/>
              <a:gd name="T57" fmla="*/ 19050 h 512"/>
              <a:gd name="T58" fmla="*/ 47625 w 604"/>
              <a:gd name="T59" fmla="*/ 15875 h 512"/>
              <a:gd name="T60" fmla="*/ 47625 w 604"/>
              <a:gd name="T61" fmla="*/ 12700 h 512"/>
              <a:gd name="T62" fmla="*/ 44450 w 604"/>
              <a:gd name="T63" fmla="*/ 9525 h 512"/>
              <a:gd name="T64" fmla="*/ 34131 w 604"/>
              <a:gd name="T65" fmla="*/ 3175 h 512"/>
              <a:gd name="T66" fmla="*/ 23812 w 604"/>
              <a:gd name="T67" fmla="*/ 0 h 512"/>
              <a:gd name="T68" fmla="*/ 14288 w 604"/>
              <a:gd name="T69" fmla="*/ 6350 h 512"/>
              <a:gd name="T70" fmla="*/ 16669 w 604"/>
              <a:gd name="T71" fmla="*/ 9525 h 512"/>
              <a:gd name="T72" fmla="*/ 14288 w 604"/>
              <a:gd name="T73" fmla="*/ 15875 h 512"/>
              <a:gd name="T74" fmla="*/ 9525 w 604"/>
              <a:gd name="T75" fmla="*/ 15875 h 512"/>
              <a:gd name="T76" fmla="*/ 7144 w 604"/>
              <a:gd name="T77" fmla="*/ 19050 h 512"/>
              <a:gd name="T78" fmla="*/ 0 w 604"/>
              <a:gd name="T79" fmla="*/ 19050 h 512"/>
              <a:gd name="T80" fmla="*/ 0 w 604"/>
              <a:gd name="T81" fmla="*/ 25400 h 512"/>
              <a:gd name="T82" fmla="*/ 3969 w 604"/>
              <a:gd name="T83" fmla="*/ 25400 h 512"/>
              <a:gd name="T84" fmla="*/ 16669 w 604"/>
              <a:gd name="T85" fmla="*/ 44450 h 512"/>
              <a:gd name="T86" fmla="*/ 19844 w 604"/>
              <a:gd name="T87" fmla="*/ 47625 h 512"/>
              <a:gd name="T88" fmla="*/ 23812 w 604"/>
              <a:gd name="T89" fmla="*/ 53975 h 512"/>
              <a:gd name="T90" fmla="*/ 23812 w 604"/>
              <a:gd name="T91" fmla="*/ 63500 h 512"/>
              <a:gd name="T92" fmla="*/ 34131 w 604"/>
              <a:gd name="T93" fmla="*/ 69850 h 512"/>
              <a:gd name="T94" fmla="*/ 40481 w 604"/>
              <a:gd name="T95" fmla="*/ 85725 h 512"/>
              <a:gd name="T96" fmla="*/ 44450 w 604"/>
              <a:gd name="T97" fmla="*/ 88900 h 512"/>
              <a:gd name="T98" fmla="*/ 47625 w 604"/>
              <a:gd name="T99" fmla="*/ 85725 h 512"/>
              <a:gd name="T100" fmla="*/ 58738 w 604"/>
              <a:gd name="T101" fmla="*/ 94456 h 512"/>
              <a:gd name="T102" fmla="*/ 61119 w 604"/>
              <a:gd name="T103" fmla="*/ 101600 h 512"/>
              <a:gd name="T104" fmla="*/ 84931 w 604"/>
              <a:gd name="T105" fmla="*/ 85725 h 512"/>
              <a:gd name="T106" fmla="*/ 99219 w 604"/>
              <a:gd name="T107" fmla="*/ 82550 h 5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604"/>
              <a:gd name="T163" fmla="*/ 0 h 512"/>
              <a:gd name="T164" fmla="*/ 604 w 604"/>
              <a:gd name="T165" fmla="*/ 512 h 5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604" h="512">
                <a:moveTo>
                  <a:pt x="501" y="416"/>
                </a:moveTo>
                <a:lnTo>
                  <a:pt x="501" y="416"/>
                </a:lnTo>
                <a:lnTo>
                  <a:pt x="518" y="401"/>
                </a:lnTo>
                <a:lnTo>
                  <a:pt x="535" y="384"/>
                </a:lnTo>
                <a:lnTo>
                  <a:pt x="552" y="368"/>
                </a:lnTo>
                <a:lnTo>
                  <a:pt x="570" y="353"/>
                </a:lnTo>
                <a:lnTo>
                  <a:pt x="587" y="336"/>
                </a:lnTo>
                <a:lnTo>
                  <a:pt x="604" y="336"/>
                </a:lnTo>
                <a:lnTo>
                  <a:pt x="604" y="320"/>
                </a:lnTo>
                <a:lnTo>
                  <a:pt x="604" y="305"/>
                </a:lnTo>
                <a:lnTo>
                  <a:pt x="604" y="288"/>
                </a:lnTo>
                <a:lnTo>
                  <a:pt x="587" y="272"/>
                </a:lnTo>
                <a:lnTo>
                  <a:pt x="570" y="257"/>
                </a:lnTo>
                <a:lnTo>
                  <a:pt x="552" y="257"/>
                </a:lnTo>
                <a:lnTo>
                  <a:pt x="535" y="257"/>
                </a:lnTo>
                <a:lnTo>
                  <a:pt x="535" y="272"/>
                </a:lnTo>
                <a:lnTo>
                  <a:pt x="518" y="272"/>
                </a:lnTo>
                <a:lnTo>
                  <a:pt x="501" y="272"/>
                </a:lnTo>
                <a:lnTo>
                  <a:pt x="483" y="272"/>
                </a:lnTo>
                <a:lnTo>
                  <a:pt x="466" y="272"/>
                </a:lnTo>
                <a:lnTo>
                  <a:pt x="449" y="272"/>
                </a:lnTo>
                <a:lnTo>
                  <a:pt x="431" y="257"/>
                </a:lnTo>
                <a:lnTo>
                  <a:pt x="449" y="240"/>
                </a:lnTo>
                <a:lnTo>
                  <a:pt x="431" y="209"/>
                </a:lnTo>
                <a:lnTo>
                  <a:pt x="431" y="161"/>
                </a:lnTo>
                <a:lnTo>
                  <a:pt x="380" y="113"/>
                </a:lnTo>
                <a:lnTo>
                  <a:pt x="328" y="96"/>
                </a:lnTo>
                <a:lnTo>
                  <a:pt x="293" y="113"/>
                </a:lnTo>
                <a:lnTo>
                  <a:pt x="276" y="96"/>
                </a:lnTo>
                <a:lnTo>
                  <a:pt x="241" y="80"/>
                </a:lnTo>
                <a:lnTo>
                  <a:pt x="241" y="65"/>
                </a:lnTo>
                <a:lnTo>
                  <a:pt x="224" y="48"/>
                </a:lnTo>
                <a:lnTo>
                  <a:pt x="172" y="17"/>
                </a:lnTo>
                <a:lnTo>
                  <a:pt x="120" y="0"/>
                </a:lnTo>
                <a:lnTo>
                  <a:pt x="69" y="32"/>
                </a:lnTo>
                <a:lnTo>
                  <a:pt x="86" y="48"/>
                </a:lnTo>
                <a:lnTo>
                  <a:pt x="69" y="80"/>
                </a:lnTo>
                <a:lnTo>
                  <a:pt x="51" y="80"/>
                </a:lnTo>
                <a:lnTo>
                  <a:pt x="34" y="96"/>
                </a:lnTo>
                <a:lnTo>
                  <a:pt x="0" y="96"/>
                </a:lnTo>
                <a:lnTo>
                  <a:pt x="0" y="128"/>
                </a:lnTo>
                <a:lnTo>
                  <a:pt x="17" y="128"/>
                </a:lnTo>
                <a:lnTo>
                  <a:pt x="86" y="224"/>
                </a:lnTo>
                <a:lnTo>
                  <a:pt x="103" y="240"/>
                </a:lnTo>
                <a:lnTo>
                  <a:pt x="120" y="272"/>
                </a:lnTo>
                <a:lnTo>
                  <a:pt x="120" y="320"/>
                </a:lnTo>
                <a:lnTo>
                  <a:pt x="172" y="353"/>
                </a:lnTo>
                <a:lnTo>
                  <a:pt x="207" y="432"/>
                </a:lnTo>
                <a:lnTo>
                  <a:pt x="224" y="449"/>
                </a:lnTo>
                <a:lnTo>
                  <a:pt x="241" y="432"/>
                </a:lnTo>
                <a:lnTo>
                  <a:pt x="293" y="479"/>
                </a:lnTo>
                <a:lnTo>
                  <a:pt x="311" y="512"/>
                </a:lnTo>
                <a:lnTo>
                  <a:pt x="431" y="432"/>
                </a:lnTo>
                <a:lnTo>
                  <a:pt x="501" y="416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4" name="Freeform 213"/>
          <p:cNvSpPr>
            <a:spLocks/>
          </p:cNvSpPr>
          <p:nvPr/>
        </p:nvSpPr>
        <p:spPr bwMode="auto">
          <a:xfrm>
            <a:off x="6503222" y="3110216"/>
            <a:ext cx="55948" cy="78984"/>
          </a:xfrm>
          <a:custGeom>
            <a:avLst/>
            <a:gdLst>
              <a:gd name="T0" fmla="*/ 3084 w 35"/>
              <a:gd name="T1" fmla="*/ 9525 h 48"/>
              <a:gd name="T2" fmla="*/ 3084 w 35"/>
              <a:gd name="T3" fmla="*/ 9525 h 48"/>
              <a:gd name="T4" fmla="*/ 0 w 35"/>
              <a:gd name="T5" fmla="*/ 3969 h 48"/>
              <a:gd name="T6" fmla="*/ 3084 w 35"/>
              <a:gd name="T7" fmla="*/ 0 h 48"/>
              <a:gd name="T8" fmla="*/ 6169 w 35"/>
              <a:gd name="T9" fmla="*/ 0 h 48"/>
              <a:gd name="T10" fmla="*/ 3084 w 35"/>
              <a:gd name="T11" fmla="*/ 9525 h 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48"/>
              <a:gd name="T20" fmla="*/ 35 w 35"/>
              <a:gd name="T21" fmla="*/ 48 h 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48">
                <a:moveTo>
                  <a:pt x="18" y="48"/>
                </a:moveTo>
                <a:lnTo>
                  <a:pt x="18" y="48"/>
                </a:lnTo>
                <a:lnTo>
                  <a:pt x="0" y="17"/>
                </a:lnTo>
                <a:lnTo>
                  <a:pt x="18" y="0"/>
                </a:lnTo>
                <a:lnTo>
                  <a:pt x="35" y="0"/>
                </a:lnTo>
                <a:lnTo>
                  <a:pt x="18" y="48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" name="Freeform 214"/>
          <p:cNvSpPr>
            <a:spLocks/>
          </p:cNvSpPr>
          <p:nvPr/>
        </p:nvSpPr>
        <p:spPr bwMode="auto">
          <a:xfrm>
            <a:off x="6615115" y="3162873"/>
            <a:ext cx="312646" cy="342263"/>
          </a:xfrm>
          <a:custGeom>
            <a:avLst/>
            <a:gdLst>
              <a:gd name="T0" fmla="*/ 0 w 190"/>
              <a:gd name="T1" fmla="*/ 41275 h 208"/>
              <a:gd name="T2" fmla="*/ 0 w 190"/>
              <a:gd name="T3" fmla="*/ 41275 h 208"/>
              <a:gd name="T4" fmla="*/ 9525 w 190"/>
              <a:gd name="T5" fmla="*/ 41275 h 208"/>
              <a:gd name="T6" fmla="*/ 14288 w 190"/>
              <a:gd name="T7" fmla="*/ 38100 h 208"/>
              <a:gd name="T8" fmla="*/ 17463 w 190"/>
              <a:gd name="T9" fmla="*/ 35719 h 208"/>
              <a:gd name="T10" fmla="*/ 23813 w 190"/>
              <a:gd name="T11" fmla="*/ 31750 h 208"/>
              <a:gd name="T12" fmla="*/ 27781 w 190"/>
              <a:gd name="T13" fmla="*/ 28575 h 208"/>
              <a:gd name="T14" fmla="*/ 27781 w 190"/>
              <a:gd name="T15" fmla="*/ 26194 h 208"/>
              <a:gd name="T16" fmla="*/ 34131 w 190"/>
              <a:gd name="T17" fmla="*/ 16669 h 208"/>
              <a:gd name="T18" fmla="*/ 38100 w 190"/>
              <a:gd name="T19" fmla="*/ 12700 h 208"/>
              <a:gd name="T20" fmla="*/ 30956 w 190"/>
              <a:gd name="T21" fmla="*/ 7144 h 208"/>
              <a:gd name="T22" fmla="*/ 23813 w 190"/>
              <a:gd name="T23" fmla="*/ 3175 h 208"/>
              <a:gd name="T24" fmla="*/ 19844 w 190"/>
              <a:gd name="T25" fmla="*/ 0 h 208"/>
              <a:gd name="T26" fmla="*/ 14288 w 190"/>
              <a:gd name="T27" fmla="*/ 7144 h 208"/>
              <a:gd name="T28" fmla="*/ 17463 w 190"/>
              <a:gd name="T29" fmla="*/ 9525 h 208"/>
              <a:gd name="T30" fmla="*/ 19844 w 190"/>
              <a:gd name="T31" fmla="*/ 12700 h 208"/>
              <a:gd name="T32" fmla="*/ 19844 w 190"/>
              <a:gd name="T33" fmla="*/ 16669 h 208"/>
              <a:gd name="T34" fmla="*/ 19844 w 190"/>
              <a:gd name="T35" fmla="*/ 19050 h 208"/>
              <a:gd name="T36" fmla="*/ 19844 w 190"/>
              <a:gd name="T37" fmla="*/ 22225 h 208"/>
              <a:gd name="T38" fmla="*/ 17463 w 190"/>
              <a:gd name="T39" fmla="*/ 22225 h 208"/>
              <a:gd name="T40" fmla="*/ 14288 w 190"/>
              <a:gd name="T41" fmla="*/ 26194 h 208"/>
              <a:gd name="T42" fmla="*/ 9525 w 190"/>
              <a:gd name="T43" fmla="*/ 28575 h 208"/>
              <a:gd name="T44" fmla="*/ 7144 w 190"/>
              <a:gd name="T45" fmla="*/ 31750 h 208"/>
              <a:gd name="T46" fmla="*/ 3969 w 190"/>
              <a:gd name="T47" fmla="*/ 35719 h 208"/>
              <a:gd name="T48" fmla="*/ 0 w 190"/>
              <a:gd name="T49" fmla="*/ 38100 h 208"/>
              <a:gd name="T50" fmla="*/ 0 w 190"/>
              <a:gd name="T51" fmla="*/ 41275 h 20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208"/>
              <a:gd name="T80" fmla="*/ 190 w 190"/>
              <a:gd name="T81" fmla="*/ 208 h 20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208">
                <a:moveTo>
                  <a:pt x="0" y="208"/>
                </a:moveTo>
                <a:lnTo>
                  <a:pt x="0" y="208"/>
                </a:lnTo>
                <a:lnTo>
                  <a:pt x="51" y="208"/>
                </a:lnTo>
                <a:lnTo>
                  <a:pt x="69" y="192"/>
                </a:lnTo>
                <a:lnTo>
                  <a:pt x="86" y="177"/>
                </a:lnTo>
                <a:lnTo>
                  <a:pt x="121" y="160"/>
                </a:lnTo>
                <a:lnTo>
                  <a:pt x="138" y="144"/>
                </a:lnTo>
                <a:lnTo>
                  <a:pt x="138" y="129"/>
                </a:lnTo>
                <a:lnTo>
                  <a:pt x="172" y="81"/>
                </a:lnTo>
                <a:lnTo>
                  <a:pt x="190" y="64"/>
                </a:lnTo>
                <a:lnTo>
                  <a:pt x="155" y="33"/>
                </a:lnTo>
                <a:lnTo>
                  <a:pt x="121" y="16"/>
                </a:lnTo>
                <a:lnTo>
                  <a:pt x="103" y="0"/>
                </a:lnTo>
                <a:lnTo>
                  <a:pt x="69" y="33"/>
                </a:lnTo>
                <a:lnTo>
                  <a:pt x="86" y="48"/>
                </a:lnTo>
                <a:lnTo>
                  <a:pt x="103" y="64"/>
                </a:lnTo>
                <a:lnTo>
                  <a:pt x="103" y="81"/>
                </a:lnTo>
                <a:lnTo>
                  <a:pt x="103" y="96"/>
                </a:lnTo>
                <a:lnTo>
                  <a:pt x="103" y="112"/>
                </a:lnTo>
                <a:lnTo>
                  <a:pt x="86" y="112"/>
                </a:lnTo>
                <a:lnTo>
                  <a:pt x="69" y="129"/>
                </a:lnTo>
                <a:lnTo>
                  <a:pt x="51" y="144"/>
                </a:lnTo>
                <a:lnTo>
                  <a:pt x="34" y="160"/>
                </a:lnTo>
                <a:lnTo>
                  <a:pt x="17" y="177"/>
                </a:lnTo>
                <a:lnTo>
                  <a:pt x="0" y="192"/>
                </a:lnTo>
                <a:lnTo>
                  <a:pt x="0" y="208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Freeform 215"/>
          <p:cNvSpPr>
            <a:spLocks/>
          </p:cNvSpPr>
          <p:nvPr/>
        </p:nvSpPr>
        <p:spPr bwMode="auto">
          <a:xfrm>
            <a:off x="6957380" y="2478345"/>
            <a:ext cx="658199" cy="473903"/>
          </a:xfrm>
          <a:custGeom>
            <a:avLst/>
            <a:gdLst>
              <a:gd name="T0" fmla="*/ 76391 w 399"/>
              <a:gd name="T1" fmla="*/ 9525 h 288"/>
              <a:gd name="T2" fmla="*/ 76391 w 399"/>
              <a:gd name="T3" fmla="*/ 9525 h 288"/>
              <a:gd name="T4" fmla="*/ 73208 w 399"/>
              <a:gd name="T5" fmla="*/ 9525 h 288"/>
              <a:gd name="T6" fmla="*/ 66046 w 399"/>
              <a:gd name="T7" fmla="*/ 13494 h 288"/>
              <a:gd name="T8" fmla="*/ 58885 w 399"/>
              <a:gd name="T9" fmla="*/ 15875 h 288"/>
              <a:gd name="T10" fmla="*/ 58885 w 399"/>
              <a:gd name="T11" fmla="*/ 22225 h 288"/>
              <a:gd name="T12" fmla="*/ 55702 w 399"/>
              <a:gd name="T13" fmla="*/ 28575 h 288"/>
              <a:gd name="T14" fmla="*/ 52519 w 399"/>
              <a:gd name="T15" fmla="*/ 28575 h 288"/>
              <a:gd name="T16" fmla="*/ 52519 w 399"/>
              <a:gd name="T17" fmla="*/ 31750 h 288"/>
              <a:gd name="T18" fmla="*/ 48540 w 399"/>
              <a:gd name="T19" fmla="*/ 34925 h 288"/>
              <a:gd name="T20" fmla="*/ 48540 w 399"/>
              <a:gd name="T21" fmla="*/ 41275 h 288"/>
              <a:gd name="T22" fmla="*/ 35013 w 399"/>
              <a:gd name="T23" fmla="*/ 44450 h 288"/>
              <a:gd name="T24" fmla="*/ 31830 w 399"/>
              <a:gd name="T25" fmla="*/ 47625 h 288"/>
              <a:gd name="T26" fmla="*/ 31830 w 399"/>
              <a:gd name="T27" fmla="*/ 53975 h 288"/>
              <a:gd name="T28" fmla="*/ 11140 w 399"/>
              <a:gd name="T29" fmla="*/ 57150 h 288"/>
              <a:gd name="T30" fmla="*/ 3979 w 399"/>
              <a:gd name="T31" fmla="*/ 53975 h 288"/>
              <a:gd name="T32" fmla="*/ 7162 w 399"/>
              <a:gd name="T33" fmla="*/ 47625 h 288"/>
              <a:gd name="T34" fmla="*/ 7162 w 399"/>
              <a:gd name="T35" fmla="*/ 44450 h 288"/>
              <a:gd name="T36" fmla="*/ 0 w 399"/>
              <a:gd name="T37" fmla="*/ 41275 h 288"/>
              <a:gd name="T38" fmla="*/ 0 w 399"/>
              <a:gd name="T39" fmla="*/ 28575 h 288"/>
              <a:gd name="T40" fmla="*/ 3979 w 399"/>
              <a:gd name="T41" fmla="*/ 22225 h 288"/>
              <a:gd name="T42" fmla="*/ 3979 w 399"/>
              <a:gd name="T43" fmla="*/ 19050 h 288"/>
              <a:gd name="T44" fmla="*/ 14323 w 399"/>
              <a:gd name="T45" fmla="*/ 19050 h 288"/>
              <a:gd name="T46" fmla="*/ 14323 w 399"/>
              <a:gd name="T47" fmla="*/ 15875 h 288"/>
              <a:gd name="T48" fmla="*/ 21485 w 399"/>
              <a:gd name="T49" fmla="*/ 15875 h 288"/>
              <a:gd name="T50" fmla="*/ 24668 w 399"/>
              <a:gd name="T51" fmla="*/ 9525 h 288"/>
              <a:gd name="T52" fmla="*/ 27851 w 399"/>
              <a:gd name="T53" fmla="*/ 9525 h 288"/>
              <a:gd name="T54" fmla="*/ 27851 w 399"/>
              <a:gd name="T55" fmla="*/ 6350 h 288"/>
              <a:gd name="T56" fmla="*/ 42174 w 399"/>
              <a:gd name="T57" fmla="*/ 9525 h 288"/>
              <a:gd name="T58" fmla="*/ 48540 w 399"/>
              <a:gd name="T59" fmla="*/ 9525 h 288"/>
              <a:gd name="T60" fmla="*/ 48540 w 399"/>
              <a:gd name="T61" fmla="*/ 6350 h 288"/>
              <a:gd name="T62" fmla="*/ 52519 w 399"/>
              <a:gd name="T63" fmla="*/ 6350 h 288"/>
              <a:gd name="T64" fmla="*/ 55702 w 399"/>
              <a:gd name="T65" fmla="*/ 0 h 288"/>
              <a:gd name="T66" fmla="*/ 58885 w 399"/>
              <a:gd name="T67" fmla="*/ 3969 h 288"/>
              <a:gd name="T68" fmla="*/ 62863 w 399"/>
              <a:gd name="T69" fmla="*/ 13494 h 288"/>
              <a:gd name="T70" fmla="*/ 69229 w 399"/>
              <a:gd name="T71" fmla="*/ 6350 h 288"/>
              <a:gd name="T72" fmla="*/ 79574 w 399"/>
              <a:gd name="T73" fmla="*/ 9525 h 288"/>
              <a:gd name="T74" fmla="*/ 76391 w 399"/>
              <a:gd name="T75" fmla="*/ 9525 h 28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99"/>
              <a:gd name="T115" fmla="*/ 0 h 288"/>
              <a:gd name="T116" fmla="*/ 399 w 399"/>
              <a:gd name="T117" fmla="*/ 288 h 28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99" h="288">
                <a:moveTo>
                  <a:pt x="382" y="48"/>
                </a:moveTo>
                <a:lnTo>
                  <a:pt x="382" y="48"/>
                </a:lnTo>
                <a:lnTo>
                  <a:pt x="365" y="48"/>
                </a:lnTo>
                <a:lnTo>
                  <a:pt x="330" y="65"/>
                </a:lnTo>
                <a:lnTo>
                  <a:pt x="296" y="80"/>
                </a:lnTo>
                <a:lnTo>
                  <a:pt x="296" y="113"/>
                </a:lnTo>
                <a:lnTo>
                  <a:pt x="278" y="144"/>
                </a:lnTo>
                <a:lnTo>
                  <a:pt x="261" y="144"/>
                </a:lnTo>
                <a:lnTo>
                  <a:pt x="261" y="161"/>
                </a:lnTo>
                <a:lnTo>
                  <a:pt x="244" y="176"/>
                </a:lnTo>
                <a:lnTo>
                  <a:pt x="244" y="209"/>
                </a:lnTo>
                <a:lnTo>
                  <a:pt x="175" y="224"/>
                </a:lnTo>
                <a:lnTo>
                  <a:pt x="157" y="240"/>
                </a:lnTo>
                <a:lnTo>
                  <a:pt x="157" y="272"/>
                </a:lnTo>
                <a:lnTo>
                  <a:pt x="54" y="288"/>
                </a:lnTo>
                <a:lnTo>
                  <a:pt x="19" y="272"/>
                </a:lnTo>
                <a:lnTo>
                  <a:pt x="36" y="240"/>
                </a:lnTo>
                <a:lnTo>
                  <a:pt x="36" y="224"/>
                </a:lnTo>
                <a:lnTo>
                  <a:pt x="0" y="209"/>
                </a:lnTo>
                <a:lnTo>
                  <a:pt x="0" y="144"/>
                </a:lnTo>
                <a:lnTo>
                  <a:pt x="19" y="113"/>
                </a:lnTo>
                <a:lnTo>
                  <a:pt x="19" y="96"/>
                </a:lnTo>
                <a:lnTo>
                  <a:pt x="71" y="96"/>
                </a:lnTo>
                <a:lnTo>
                  <a:pt x="71" y="80"/>
                </a:lnTo>
                <a:lnTo>
                  <a:pt x="105" y="80"/>
                </a:lnTo>
                <a:lnTo>
                  <a:pt x="123" y="48"/>
                </a:lnTo>
                <a:lnTo>
                  <a:pt x="140" y="48"/>
                </a:lnTo>
                <a:lnTo>
                  <a:pt x="140" y="32"/>
                </a:lnTo>
                <a:lnTo>
                  <a:pt x="209" y="48"/>
                </a:lnTo>
                <a:lnTo>
                  <a:pt x="244" y="48"/>
                </a:lnTo>
                <a:lnTo>
                  <a:pt x="244" y="32"/>
                </a:lnTo>
                <a:lnTo>
                  <a:pt x="261" y="32"/>
                </a:lnTo>
                <a:lnTo>
                  <a:pt x="278" y="0"/>
                </a:lnTo>
                <a:lnTo>
                  <a:pt x="296" y="17"/>
                </a:lnTo>
                <a:lnTo>
                  <a:pt x="313" y="65"/>
                </a:lnTo>
                <a:lnTo>
                  <a:pt x="347" y="32"/>
                </a:lnTo>
                <a:lnTo>
                  <a:pt x="399" y="48"/>
                </a:lnTo>
                <a:lnTo>
                  <a:pt x="382" y="48"/>
                </a:lnTo>
                <a:close/>
              </a:path>
            </a:pathLst>
          </a:custGeom>
          <a:solidFill>
            <a:srgbClr val="177B57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7" name="Freeform 216"/>
          <p:cNvSpPr>
            <a:spLocks/>
          </p:cNvSpPr>
          <p:nvPr/>
        </p:nvSpPr>
        <p:spPr bwMode="auto">
          <a:xfrm>
            <a:off x="6016155" y="2215065"/>
            <a:ext cx="315935" cy="105312"/>
          </a:xfrm>
          <a:custGeom>
            <a:avLst/>
            <a:gdLst>
              <a:gd name="T0" fmla="*/ 10319 w 192"/>
              <a:gd name="T1" fmla="*/ 12902 h 63"/>
              <a:gd name="T2" fmla="*/ 10319 w 192"/>
              <a:gd name="T3" fmla="*/ 12902 h 63"/>
              <a:gd name="T4" fmla="*/ 10319 w 192"/>
              <a:gd name="T5" fmla="*/ 9676 h 63"/>
              <a:gd name="T6" fmla="*/ 10319 w 192"/>
              <a:gd name="T7" fmla="*/ 6451 h 63"/>
              <a:gd name="T8" fmla="*/ 0 w 192"/>
              <a:gd name="T9" fmla="*/ 0 h 63"/>
              <a:gd name="T10" fmla="*/ 17463 w 192"/>
              <a:gd name="T11" fmla="*/ 0 h 63"/>
              <a:gd name="T12" fmla="*/ 23812 w 192"/>
              <a:gd name="T13" fmla="*/ 3225 h 63"/>
              <a:gd name="T14" fmla="*/ 31750 w 192"/>
              <a:gd name="T15" fmla="*/ 3225 h 63"/>
              <a:gd name="T16" fmla="*/ 38100 w 192"/>
              <a:gd name="T17" fmla="*/ 9676 h 63"/>
              <a:gd name="T18" fmla="*/ 34925 w 192"/>
              <a:gd name="T19" fmla="*/ 9676 h 63"/>
              <a:gd name="T20" fmla="*/ 38100 w 192"/>
              <a:gd name="T21" fmla="*/ 12902 h 63"/>
              <a:gd name="T22" fmla="*/ 31750 w 192"/>
              <a:gd name="T23" fmla="*/ 12902 h 63"/>
              <a:gd name="T24" fmla="*/ 27781 w 192"/>
              <a:gd name="T25" fmla="*/ 12902 h 63"/>
              <a:gd name="T26" fmla="*/ 20637 w 192"/>
              <a:gd name="T27" fmla="*/ 12902 h 63"/>
              <a:gd name="T28" fmla="*/ 10319 w 192"/>
              <a:gd name="T29" fmla="*/ 12902 h 6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92"/>
              <a:gd name="T46" fmla="*/ 0 h 63"/>
              <a:gd name="T47" fmla="*/ 192 w 192"/>
              <a:gd name="T48" fmla="*/ 63 h 6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92" h="63">
                <a:moveTo>
                  <a:pt x="54" y="63"/>
                </a:moveTo>
                <a:lnTo>
                  <a:pt x="54" y="63"/>
                </a:lnTo>
                <a:lnTo>
                  <a:pt x="54" y="48"/>
                </a:lnTo>
                <a:lnTo>
                  <a:pt x="54" y="32"/>
                </a:lnTo>
                <a:lnTo>
                  <a:pt x="0" y="0"/>
                </a:lnTo>
                <a:lnTo>
                  <a:pt x="88" y="0"/>
                </a:lnTo>
                <a:lnTo>
                  <a:pt x="123" y="15"/>
                </a:lnTo>
                <a:lnTo>
                  <a:pt x="157" y="15"/>
                </a:lnTo>
                <a:lnTo>
                  <a:pt x="192" y="48"/>
                </a:lnTo>
                <a:lnTo>
                  <a:pt x="175" y="48"/>
                </a:lnTo>
                <a:lnTo>
                  <a:pt x="192" y="63"/>
                </a:lnTo>
                <a:lnTo>
                  <a:pt x="157" y="63"/>
                </a:lnTo>
                <a:lnTo>
                  <a:pt x="140" y="63"/>
                </a:lnTo>
                <a:lnTo>
                  <a:pt x="105" y="63"/>
                </a:lnTo>
                <a:lnTo>
                  <a:pt x="54" y="63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8" name="Freeform 217"/>
          <p:cNvSpPr>
            <a:spLocks/>
          </p:cNvSpPr>
          <p:nvPr/>
        </p:nvSpPr>
        <p:spPr bwMode="auto">
          <a:xfrm>
            <a:off x="5387575" y="2294050"/>
            <a:ext cx="855659" cy="315935"/>
          </a:xfrm>
          <a:custGeom>
            <a:avLst/>
            <a:gdLst>
              <a:gd name="T0" fmla="*/ 103188 w 520"/>
              <a:gd name="T1" fmla="*/ 12766 h 191"/>
              <a:gd name="T2" fmla="*/ 103188 w 520"/>
              <a:gd name="T3" fmla="*/ 12766 h 191"/>
              <a:gd name="T4" fmla="*/ 99219 w 520"/>
              <a:gd name="T5" fmla="*/ 12766 h 191"/>
              <a:gd name="T6" fmla="*/ 96044 w 520"/>
              <a:gd name="T7" fmla="*/ 3192 h 191"/>
              <a:gd name="T8" fmla="*/ 85725 w 520"/>
              <a:gd name="T9" fmla="*/ 3192 h 191"/>
              <a:gd name="T10" fmla="*/ 75406 w 520"/>
              <a:gd name="T11" fmla="*/ 6383 h 191"/>
              <a:gd name="T12" fmla="*/ 61912 w 520"/>
              <a:gd name="T13" fmla="*/ 6383 h 191"/>
              <a:gd name="T14" fmla="*/ 51594 w 520"/>
              <a:gd name="T15" fmla="*/ 0 h 191"/>
              <a:gd name="T16" fmla="*/ 41275 w 520"/>
              <a:gd name="T17" fmla="*/ 0 h 191"/>
              <a:gd name="T18" fmla="*/ 30956 w 520"/>
              <a:gd name="T19" fmla="*/ 6383 h 191"/>
              <a:gd name="T20" fmla="*/ 23812 w 520"/>
              <a:gd name="T21" fmla="*/ 6383 h 191"/>
              <a:gd name="T22" fmla="*/ 17462 w 520"/>
              <a:gd name="T23" fmla="*/ 6383 h 191"/>
              <a:gd name="T24" fmla="*/ 13494 w 520"/>
              <a:gd name="T25" fmla="*/ 0 h 191"/>
              <a:gd name="T26" fmla="*/ 7144 w 520"/>
              <a:gd name="T27" fmla="*/ 0 h 191"/>
              <a:gd name="T28" fmla="*/ 3175 w 520"/>
              <a:gd name="T29" fmla="*/ 3192 h 191"/>
              <a:gd name="T30" fmla="*/ 0 w 520"/>
              <a:gd name="T31" fmla="*/ 9575 h 191"/>
              <a:gd name="T32" fmla="*/ 3175 w 520"/>
              <a:gd name="T33" fmla="*/ 9575 h 191"/>
              <a:gd name="T34" fmla="*/ 3175 w 520"/>
              <a:gd name="T35" fmla="*/ 12766 h 191"/>
              <a:gd name="T36" fmla="*/ 10319 w 520"/>
              <a:gd name="T37" fmla="*/ 6383 h 191"/>
              <a:gd name="T38" fmla="*/ 17462 w 520"/>
              <a:gd name="T39" fmla="*/ 6383 h 191"/>
              <a:gd name="T40" fmla="*/ 20637 w 520"/>
              <a:gd name="T41" fmla="*/ 9575 h 191"/>
              <a:gd name="T42" fmla="*/ 17462 w 520"/>
              <a:gd name="T43" fmla="*/ 9575 h 191"/>
              <a:gd name="T44" fmla="*/ 17462 w 520"/>
              <a:gd name="T45" fmla="*/ 12766 h 191"/>
              <a:gd name="T46" fmla="*/ 7144 w 520"/>
              <a:gd name="T47" fmla="*/ 12766 h 191"/>
              <a:gd name="T48" fmla="*/ 3175 w 520"/>
              <a:gd name="T49" fmla="*/ 12766 h 191"/>
              <a:gd name="T50" fmla="*/ 3175 w 520"/>
              <a:gd name="T51" fmla="*/ 19150 h 191"/>
              <a:gd name="T52" fmla="*/ 7144 w 520"/>
              <a:gd name="T53" fmla="*/ 15958 h 191"/>
              <a:gd name="T54" fmla="*/ 7144 w 520"/>
              <a:gd name="T55" fmla="*/ 22341 h 191"/>
              <a:gd name="T56" fmla="*/ 3175 w 520"/>
              <a:gd name="T57" fmla="*/ 22341 h 191"/>
              <a:gd name="T58" fmla="*/ 3175 w 520"/>
              <a:gd name="T59" fmla="*/ 25533 h 191"/>
              <a:gd name="T60" fmla="*/ 7144 w 520"/>
              <a:gd name="T61" fmla="*/ 25533 h 191"/>
              <a:gd name="T62" fmla="*/ 7144 w 520"/>
              <a:gd name="T63" fmla="*/ 28725 h 191"/>
              <a:gd name="T64" fmla="*/ 10319 w 520"/>
              <a:gd name="T65" fmla="*/ 31916 h 191"/>
              <a:gd name="T66" fmla="*/ 7144 w 520"/>
              <a:gd name="T67" fmla="*/ 31916 h 191"/>
              <a:gd name="T68" fmla="*/ 13494 w 520"/>
              <a:gd name="T69" fmla="*/ 31916 h 191"/>
              <a:gd name="T70" fmla="*/ 13494 w 520"/>
              <a:gd name="T71" fmla="*/ 35108 h 191"/>
              <a:gd name="T72" fmla="*/ 20637 w 520"/>
              <a:gd name="T73" fmla="*/ 38299 h 191"/>
              <a:gd name="T74" fmla="*/ 27781 w 520"/>
              <a:gd name="T75" fmla="*/ 35108 h 191"/>
              <a:gd name="T76" fmla="*/ 30956 w 520"/>
              <a:gd name="T77" fmla="*/ 35108 h 191"/>
              <a:gd name="T78" fmla="*/ 38100 w 520"/>
              <a:gd name="T79" fmla="*/ 38299 h 191"/>
              <a:gd name="T80" fmla="*/ 41275 w 520"/>
              <a:gd name="T81" fmla="*/ 38299 h 191"/>
              <a:gd name="T82" fmla="*/ 48419 w 520"/>
              <a:gd name="T83" fmla="*/ 35108 h 191"/>
              <a:gd name="T84" fmla="*/ 54769 w 520"/>
              <a:gd name="T85" fmla="*/ 35108 h 191"/>
              <a:gd name="T86" fmla="*/ 54769 w 520"/>
              <a:gd name="T87" fmla="*/ 31916 h 191"/>
              <a:gd name="T88" fmla="*/ 54769 w 520"/>
              <a:gd name="T89" fmla="*/ 38299 h 191"/>
              <a:gd name="T90" fmla="*/ 57944 w 520"/>
              <a:gd name="T91" fmla="*/ 38299 h 191"/>
              <a:gd name="T92" fmla="*/ 57944 w 520"/>
              <a:gd name="T93" fmla="*/ 35108 h 191"/>
              <a:gd name="T94" fmla="*/ 68262 w 520"/>
              <a:gd name="T95" fmla="*/ 31916 h 191"/>
              <a:gd name="T96" fmla="*/ 72231 w 520"/>
              <a:gd name="T97" fmla="*/ 35108 h 191"/>
              <a:gd name="T98" fmla="*/ 82550 w 520"/>
              <a:gd name="T99" fmla="*/ 31916 h 191"/>
              <a:gd name="T100" fmla="*/ 92869 w 520"/>
              <a:gd name="T101" fmla="*/ 31916 h 191"/>
              <a:gd name="T102" fmla="*/ 92869 w 520"/>
              <a:gd name="T103" fmla="*/ 28725 h 191"/>
              <a:gd name="T104" fmla="*/ 103188 w 520"/>
              <a:gd name="T105" fmla="*/ 31916 h 191"/>
              <a:gd name="T106" fmla="*/ 99219 w 520"/>
              <a:gd name="T107" fmla="*/ 15958 h 191"/>
              <a:gd name="T108" fmla="*/ 103188 w 520"/>
              <a:gd name="T109" fmla="*/ 12766 h 19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20"/>
              <a:gd name="T166" fmla="*/ 0 h 191"/>
              <a:gd name="T167" fmla="*/ 520 w 520"/>
              <a:gd name="T168" fmla="*/ 191 h 19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20" h="191">
                <a:moveTo>
                  <a:pt x="520" y="63"/>
                </a:moveTo>
                <a:lnTo>
                  <a:pt x="520" y="63"/>
                </a:lnTo>
                <a:lnTo>
                  <a:pt x="503" y="63"/>
                </a:lnTo>
                <a:lnTo>
                  <a:pt x="485" y="15"/>
                </a:lnTo>
                <a:lnTo>
                  <a:pt x="434" y="15"/>
                </a:lnTo>
                <a:lnTo>
                  <a:pt x="382" y="32"/>
                </a:lnTo>
                <a:lnTo>
                  <a:pt x="313" y="32"/>
                </a:lnTo>
                <a:lnTo>
                  <a:pt x="261" y="0"/>
                </a:lnTo>
                <a:lnTo>
                  <a:pt x="209" y="0"/>
                </a:lnTo>
                <a:lnTo>
                  <a:pt x="157" y="32"/>
                </a:lnTo>
                <a:lnTo>
                  <a:pt x="123" y="32"/>
                </a:lnTo>
                <a:lnTo>
                  <a:pt x="88" y="32"/>
                </a:lnTo>
                <a:lnTo>
                  <a:pt x="71" y="0"/>
                </a:lnTo>
                <a:lnTo>
                  <a:pt x="36" y="0"/>
                </a:lnTo>
                <a:lnTo>
                  <a:pt x="19" y="15"/>
                </a:lnTo>
                <a:lnTo>
                  <a:pt x="0" y="48"/>
                </a:lnTo>
                <a:lnTo>
                  <a:pt x="19" y="48"/>
                </a:lnTo>
                <a:lnTo>
                  <a:pt x="19" y="63"/>
                </a:lnTo>
                <a:lnTo>
                  <a:pt x="54" y="32"/>
                </a:lnTo>
                <a:lnTo>
                  <a:pt x="88" y="32"/>
                </a:lnTo>
                <a:lnTo>
                  <a:pt x="105" y="48"/>
                </a:lnTo>
                <a:lnTo>
                  <a:pt x="88" y="48"/>
                </a:lnTo>
                <a:lnTo>
                  <a:pt x="88" y="63"/>
                </a:lnTo>
                <a:lnTo>
                  <a:pt x="36" y="63"/>
                </a:lnTo>
                <a:lnTo>
                  <a:pt x="19" y="63"/>
                </a:lnTo>
                <a:lnTo>
                  <a:pt x="19" y="96"/>
                </a:lnTo>
                <a:lnTo>
                  <a:pt x="36" y="80"/>
                </a:lnTo>
                <a:lnTo>
                  <a:pt x="36" y="111"/>
                </a:lnTo>
                <a:lnTo>
                  <a:pt x="19" y="111"/>
                </a:lnTo>
                <a:lnTo>
                  <a:pt x="19" y="128"/>
                </a:lnTo>
                <a:lnTo>
                  <a:pt x="36" y="128"/>
                </a:lnTo>
                <a:lnTo>
                  <a:pt x="36" y="143"/>
                </a:lnTo>
                <a:lnTo>
                  <a:pt x="54" y="159"/>
                </a:lnTo>
                <a:lnTo>
                  <a:pt x="36" y="159"/>
                </a:lnTo>
                <a:lnTo>
                  <a:pt x="71" y="159"/>
                </a:lnTo>
                <a:lnTo>
                  <a:pt x="71" y="176"/>
                </a:lnTo>
                <a:lnTo>
                  <a:pt x="105" y="191"/>
                </a:lnTo>
                <a:lnTo>
                  <a:pt x="140" y="176"/>
                </a:lnTo>
                <a:lnTo>
                  <a:pt x="157" y="176"/>
                </a:lnTo>
                <a:lnTo>
                  <a:pt x="192" y="191"/>
                </a:lnTo>
                <a:lnTo>
                  <a:pt x="209" y="191"/>
                </a:lnTo>
                <a:lnTo>
                  <a:pt x="244" y="176"/>
                </a:lnTo>
                <a:lnTo>
                  <a:pt x="278" y="176"/>
                </a:lnTo>
                <a:lnTo>
                  <a:pt x="278" y="159"/>
                </a:lnTo>
                <a:lnTo>
                  <a:pt x="278" y="191"/>
                </a:lnTo>
                <a:lnTo>
                  <a:pt x="295" y="191"/>
                </a:lnTo>
                <a:lnTo>
                  <a:pt x="295" y="176"/>
                </a:lnTo>
                <a:lnTo>
                  <a:pt x="347" y="159"/>
                </a:lnTo>
                <a:lnTo>
                  <a:pt x="365" y="176"/>
                </a:lnTo>
                <a:lnTo>
                  <a:pt x="416" y="159"/>
                </a:lnTo>
                <a:lnTo>
                  <a:pt x="468" y="159"/>
                </a:lnTo>
                <a:lnTo>
                  <a:pt x="468" y="143"/>
                </a:lnTo>
                <a:lnTo>
                  <a:pt x="520" y="159"/>
                </a:lnTo>
                <a:lnTo>
                  <a:pt x="503" y="80"/>
                </a:lnTo>
                <a:lnTo>
                  <a:pt x="520" y="63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9" name="Freeform 218"/>
          <p:cNvSpPr>
            <a:spLocks/>
          </p:cNvSpPr>
          <p:nvPr/>
        </p:nvSpPr>
        <p:spPr bwMode="auto">
          <a:xfrm>
            <a:off x="5792366" y="2744916"/>
            <a:ext cx="194170" cy="207334"/>
          </a:xfrm>
          <a:custGeom>
            <a:avLst/>
            <a:gdLst>
              <a:gd name="T0" fmla="*/ 22825 w 119"/>
              <a:gd name="T1" fmla="*/ 5513 h 127"/>
              <a:gd name="T2" fmla="*/ 22825 w 119"/>
              <a:gd name="T3" fmla="*/ 5513 h 127"/>
              <a:gd name="T4" fmla="*/ 22825 w 119"/>
              <a:gd name="T5" fmla="*/ 0 h 127"/>
              <a:gd name="T6" fmla="*/ 19677 w 119"/>
              <a:gd name="T7" fmla="*/ 0 h 127"/>
              <a:gd name="T8" fmla="*/ 9445 w 119"/>
              <a:gd name="T9" fmla="*/ 5513 h 127"/>
              <a:gd name="T10" fmla="*/ 2361 w 119"/>
              <a:gd name="T11" fmla="*/ 5513 h 127"/>
              <a:gd name="T12" fmla="*/ 2361 w 119"/>
              <a:gd name="T13" fmla="*/ 9450 h 127"/>
              <a:gd name="T14" fmla="*/ 2361 w 119"/>
              <a:gd name="T15" fmla="*/ 14963 h 127"/>
              <a:gd name="T16" fmla="*/ 0 w 119"/>
              <a:gd name="T17" fmla="*/ 24413 h 127"/>
              <a:gd name="T18" fmla="*/ 6297 w 119"/>
              <a:gd name="T19" fmla="*/ 24413 h 127"/>
              <a:gd name="T20" fmla="*/ 9445 w 119"/>
              <a:gd name="T21" fmla="*/ 21263 h 127"/>
              <a:gd name="T22" fmla="*/ 12593 w 119"/>
              <a:gd name="T23" fmla="*/ 21263 h 127"/>
              <a:gd name="T24" fmla="*/ 16529 w 119"/>
              <a:gd name="T25" fmla="*/ 14963 h 127"/>
              <a:gd name="T26" fmla="*/ 12593 w 119"/>
              <a:gd name="T27" fmla="*/ 11813 h 127"/>
              <a:gd name="T28" fmla="*/ 22825 w 119"/>
              <a:gd name="T29" fmla="*/ 5513 h 12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9"/>
              <a:gd name="T46" fmla="*/ 0 h 127"/>
              <a:gd name="T47" fmla="*/ 119 w 119"/>
              <a:gd name="T48" fmla="*/ 127 h 12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9" h="127">
                <a:moveTo>
                  <a:pt x="119" y="31"/>
                </a:moveTo>
                <a:lnTo>
                  <a:pt x="119" y="31"/>
                </a:lnTo>
                <a:lnTo>
                  <a:pt x="119" y="0"/>
                </a:lnTo>
                <a:lnTo>
                  <a:pt x="101" y="0"/>
                </a:lnTo>
                <a:lnTo>
                  <a:pt x="49" y="31"/>
                </a:lnTo>
                <a:lnTo>
                  <a:pt x="15" y="31"/>
                </a:lnTo>
                <a:lnTo>
                  <a:pt x="15" y="48"/>
                </a:lnTo>
                <a:lnTo>
                  <a:pt x="15" y="79"/>
                </a:lnTo>
                <a:lnTo>
                  <a:pt x="0" y="127"/>
                </a:lnTo>
                <a:lnTo>
                  <a:pt x="32" y="127"/>
                </a:lnTo>
                <a:lnTo>
                  <a:pt x="49" y="111"/>
                </a:lnTo>
                <a:lnTo>
                  <a:pt x="67" y="111"/>
                </a:lnTo>
                <a:lnTo>
                  <a:pt x="84" y="79"/>
                </a:lnTo>
                <a:lnTo>
                  <a:pt x="67" y="63"/>
                </a:lnTo>
                <a:lnTo>
                  <a:pt x="119" y="31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Freeform 219"/>
          <p:cNvSpPr>
            <a:spLocks/>
          </p:cNvSpPr>
          <p:nvPr/>
        </p:nvSpPr>
        <p:spPr bwMode="auto">
          <a:xfrm>
            <a:off x="6503222" y="3110216"/>
            <a:ext cx="283026" cy="131640"/>
          </a:xfrm>
          <a:custGeom>
            <a:avLst/>
            <a:gdLst>
              <a:gd name="T0" fmla="*/ 26832 w 173"/>
              <a:gd name="T1" fmla="*/ 13494 h 80"/>
              <a:gd name="T2" fmla="*/ 26832 w 173"/>
              <a:gd name="T3" fmla="*/ 13494 h 80"/>
              <a:gd name="T4" fmla="*/ 33934 w 173"/>
              <a:gd name="T5" fmla="*/ 6350 h 80"/>
              <a:gd name="T6" fmla="*/ 33934 w 173"/>
              <a:gd name="T7" fmla="*/ 3969 h 80"/>
              <a:gd name="T8" fmla="*/ 30777 w 173"/>
              <a:gd name="T9" fmla="*/ 0 h 80"/>
              <a:gd name="T10" fmla="*/ 20518 w 173"/>
              <a:gd name="T11" fmla="*/ 9525 h 80"/>
              <a:gd name="T12" fmla="*/ 10259 w 173"/>
              <a:gd name="T13" fmla="*/ 9525 h 80"/>
              <a:gd name="T14" fmla="*/ 3157 w 173"/>
              <a:gd name="T15" fmla="*/ 9525 h 80"/>
              <a:gd name="T16" fmla="*/ 0 w 173"/>
              <a:gd name="T17" fmla="*/ 13494 h 80"/>
              <a:gd name="T18" fmla="*/ 3157 w 173"/>
              <a:gd name="T19" fmla="*/ 15875 h 80"/>
              <a:gd name="T20" fmla="*/ 6313 w 173"/>
              <a:gd name="T21" fmla="*/ 15875 h 80"/>
              <a:gd name="T22" fmla="*/ 10259 w 173"/>
              <a:gd name="T23" fmla="*/ 15875 h 80"/>
              <a:gd name="T24" fmla="*/ 13416 w 173"/>
              <a:gd name="T25" fmla="*/ 15875 h 80"/>
              <a:gd name="T26" fmla="*/ 16572 w 173"/>
              <a:gd name="T27" fmla="*/ 15875 h 80"/>
              <a:gd name="T28" fmla="*/ 20518 w 173"/>
              <a:gd name="T29" fmla="*/ 15875 h 80"/>
              <a:gd name="T30" fmla="*/ 20518 w 173"/>
              <a:gd name="T31" fmla="*/ 13494 h 80"/>
              <a:gd name="T32" fmla="*/ 23675 w 173"/>
              <a:gd name="T33" fmla="*/ 13494 h 80"/>
              <a:gd name="T34" fmla="*/ 26832 w 173"/>
              <a:gd name="T35" fmla="*/ 13494 h 8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3"/>
              <a:gd name="T55" fmla="*/ 0 h 80"/>
              <a:gd name="T56" fmla="*/ 173 w 173"/>
              <a:gd name="T57" fmla="*/ 80 h 8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3" h="80">
                <a:moveTo>
                  <a:pt x="139" y="65"/>
                </a:moveTo>
                <a:lnTo>
                  <a:pt x="139" y="65"/>
                </a:lnTo>
                <a:lnTo>
                  <a:pt x="173" y="32"/>
                </a:lnTo>
                <a:lnTo>
                  <a:pt x="173" y="17"/>
                </a:lnTo>
                <a:lnTo>
                  <a:pt x="156" y="0"/>
                </a:lnTo>
                <a:lnTo>
                  <a:pt x="104" y="48"/>
                </a:lnTo>
                <a:lnTo>
                  <a:pt x="52" y="48"/>
                </a:lnTo>
                <a:lnTo>
                  <a:pt x="18" y="48"/>
                </a:lnTo>
                <a:lnTo>
                  <a:pt x="0" y="65"/>
                </a:lnTo>
                <a:lnTo>
                  <a:pt x="18" y="80"/>
                </a:lnTo>
                <a:lnTo>
                  <a:pt x="35" y="80"/>
                </a:lnTo>
                <a:lnTo>
                  <a:pt x="52" y="80"/>
                </a:lnTo>
                <a:lnTo>
                  <a:pt x="70" y="80"/>
                </a:lnTo>
                <a:lnTo>
                  <a:pt x="87" y="80"/>
                </a:lnTo>
                <a:lnTo>
                  <a:pt x="104" y="80"/>
                </a:lnTo>
                <a:lnTo>
                  <a:pt x="104" y="65"/>
                </a:lnTo>
                <a:lnTo>
                  <a:pt x="121" y="65"/>
                </a:lnTo>
                <a:lnTo>
                  <a:pt x="139" y="65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1" name="Freeform 220"/>
          <p:cNvSpPr>
            <a:spLocks/>
          </p:cNvSpPr>
          <p:nvPr/>
        </p:nvSpPr>
        <p:spPr bwMode="auto">
          <a:xfrm>
            <a:off x="6756629" y="3083888"/>
            <a:ext cx="29620" cy="52656"/>
          </a:xfrm>
          <a:custGeom>
            <a:avLst/>
            <a:gdLst>
              <a:gd name="T0" fmla="*/ 4202 w 17"/>
              <a:gd name="T1" fmla="*/ 6158 h 33"/>
              <a:gd name="T2" fmla="*/ 4202 w 17"/>
              <a:gd name="T3" fmla="*/ 6158 h 33"/>
              <a:gd name="T4" fmla="*/ 0 w 17"/>
              <a:gd name="T5" fmla="*/ 3079 h 33"/>
              <a:gd name="T6" fmla="*/ 0 w 17"/>
              <a:gd name="T7" fmla="*/ 0 h 33"/>
              <a:gd name="T8" fmla="*/ 4202 w 17"/>
              <a:gd name="T9" fmla="*/ 0 h 33"/>
              <a:gd name="T10" fmla="*/ 4202 w 17"/>
              <a:gd name="T11" fmla="*/ 6158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33"/>
              <a:gd name="T20" fmla="*/ 17 w 17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33">
                <a:moveTo>
                  <a:pt x="17" y="33"/>
                </a:moveTo>
                <a:lnTo>
                  <a:pt x="17" y="33"/>
                </a:lnTo>
                <a:lnTo>
                  <a:pt x="0" y="16"/>
                </a:lnTo>
                <a:lnTo>
                  <a:pt x="0" y="0"/>
                </a:lnTo>
                <a:lnTo>
                  <a:pt x="17" y="0"/>
                </a:lnTo>
                <a:lnTo>
                  <a:pt x="17" y="33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Freeform 221"/>
          <p:cNvSpPr>
            <a:spLocks/>
          </p:cNvSpPr>
          <p:nvPr/>
        </p:nvSpPr>
        <p:spPr bwMode="auto">
          <a:xfrm>
            <a:off x="6157669" y="3478808"/>
            <a:ext cx="457449" cy="210623"/>
          </a:xfrm>
          <a:custGeom>
            <a:avLst/>
            <a:gdLst>
              <a:gd name="T0" fmla="*/ 0 w 279"/>
              <a:gd name="T1" fmla="*/ 6301 h 129"/>
              <a:gd name="T2" fmla="*/ 0 w 279"/>
              <a:gd name="T3" fmla="*/ 6301 h 129"/>
              <a:gd name="T4" fmla="*/ 3164 w 279"/>
              <a:gd name="T5" fmla="*/ 3150 h 129"/>
              <a:gd name="T6" fmla="*/ 13445 w 279"/>
              <a:gd name="T7" fmla="*/ 11814 h 129"/>
              <a:gd name="T8" fmla="*/ 16609 w 279"/>
              <a:gd name="T9" fmla="*/ 18902 h 129"/>
              <a:gd name="T10" fmla="*/ 41127 w 279"/>
              <a:gd name="T11" fmla="*/ 3150 h 129"/>
              <a:gd name="T12" fmla="*/ 54573 w 279"/>
              <a:gd name="T13" fmla="*/ 0 h 129"/>
              <a:gd name="T14" fmla="*/ 54573 w 279"/>
              <a:gd name="T15" fmla="*/ 3150 h 129"/>
              <a:gd name="T16" fmla="*/ 51409 w 279"/>
              <a:gd name="T17" fmla="*/ 6301 h 129"/>
              <a:gd name="T18" fmla="*/ 51409 w 279"/>
              <a:gd name="T19" fmla="*/ 9451 h 129"/>
              <a:gd name="T20" fmla="*/ 37964 w 279"/>
              <a:gd name="T21" fmla="*/ 11814 h 129"/>
              <a:gd name="T22" fmla="*/ 23727 w 279"/>
              <a:gd name="T23" fmla="*/ 21265 h 129"/>
              <a:gd name="T24" fmla="*/ 16609 w 279"/>
              <a:gd name="T25" fmla="*/ 21265 h 129"/>
              <a:gd name="T26" fmla="*/ 10282 w 279"/>
              <a:gd name="T27" fmla="*/ 25203 h 129"/>
              <a:gd name="T28" fmla="*/ 3164 w 279"/>
              <a:gd name="T29" fmla="*/ 25203 h 129"/>
              <a:gd name="T30" fmla="*/ 0 w 279"/>
              <a:gd name="T31" fmla="*/ 6301 h 12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79"/>
              <a:gd name="T49" fmla="*/ 0 h 129"/>
              <a:gd name="T50" fmla="*/ 279 w 279"/>
              <a:gd name="T51" fmla="*/ 129 h 12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79" h="129">
                <a:moveTo>
                  <a:pt x="0" y="33"/>
                </a:moveTo>
                <a:lnTo>
                  <a:pt x="0" y="33"/>
                </a:lnTo>
                <a:lnTo>
                  <a:pt x="17" y="16"/>
                </a:lnTo>
                <a:lnTo>
                  <a:pt x="69" y="63"/>
                </a:lnTo>
                <a:lnTo>
                  <a:pt x="87" y="96"/>
                </a:lnTo>
                <a:lnTo>
                  <a:pt x="209" y="16"/>
                </a:lnTo>
                <a:lnTo>
                  <a:pt x="279" y="0"/>
                </a:lnTo>
                <a:lnTo>
                  <a:pt x="279" y="16"/>
                </a:lnTo>
                <a:lnTo>
                  <a:pt x="261" y="33"/>
                </a:lnTo>
                <a:lnTo>
                  <a:pt x="261" y="48"/>
                </a:lnTo>
                <a:lnTo>
                  <a:pt x="192" y="63"/>
                </a:lnTo>
                <a:lnTo>
                  <a:pt x="123" y="111"/>
                </a:lnTo>
                <a:lnTo>
                  <a:pt x="87" y="111"/>
                </a:lnTo>
                <a:lnTo>
                  <a:pt x="52" y="129"/>
                </a:lnTo>
                <a:lnTo>
                  <a:pt x="17" y="129"/>
                </a:lnTo>
                <a:lnTo>
                  <a:pt x="0" y="33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Freeform 222"/>
          <p:cNvSpPr>
            <a:spLocks/>
          </p:cNvSpPr>
          <p:nvPr/>
        </p:nvSpPr>
        <p:spPr bwMode="auto">
          <a:xfrm>
            <a:off x="5302009" y="2636312"/>
            <a:ext cx="115186" cy="29620"/>
          </a:xfrm>
          <a:custGeom>
            <a:avLst/>
            <a:gdLst>
              <a:gd name="T0" fmla="*/ 0 w 71"/>
              <a:gd name="T1" fmla="*/ 4202 h 17"/>
              <a:gd name="T2" fmla="*/ 0 w 71"/>
              <a:gd name="T3" fmla="*/ 4202 h 17"/>
              <a:gd name="T4" fmla="*/ 7043 w 71"/>
              <a:gd name="T5" fmla="*/ 4202 h 17"/>
              <a:gd name="T6" fmla="*/ 13304 w 71"/>
              <a:gd name="T7" fmla="*/ 4202 h 17"/>
              <a:gd name="T8" fmla="*/ 10174 w 71"/>
              <a:gd name="T9" fmla="*/ 4202 h 17"/>
              <a:gd name="T10" fmla="*/ 0 w 71"/>
              <a:gd name="T11" fmla="*/ 0 h 17"/>
              <a:gd name="T12" fmla="*/ 0 w 71"/>
              <a:gd name="T13" fmla="*/ 4202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1"/>
              <a:gd name="T22" fmla="*/ 0 h 17"/>
              <a:gd name="T23" fmla="*/ 71 w 7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1" h="17">
                <a:moveTo>
                  <a:pt x="0" y="17"/>
                </a:moveTo>
                <a:lnTo>
                  <a:pt x="0" y="17"/>
                </a:lnTo>
                <a:lnTo>
                  <a:pt x="36" y="17"/>
                </a:lnTo>
                <a:lnTo>
                  <a:pt x="71" y="17"/>
                </a:lnTo>
                <a:lnTo>
                  <a:pt x="54" y="17"/>
                </a:lnTo>
                <a:lnTo>
                  <a:pt x="0" y="0"/>
                </a:lnTo>
                <a:lnTo>
                  <a:pt x="0" y="17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Freeform 223"/>
          <p:cNvSpPr>
            <a:spLocks/>
          </p:cNvSpPr>
          <p:nvPr/>
        </p:nvSpPr>
        <p:spPr bwMode="auto">
          <a:xfrm>
            <a:off x="5673890" y="2636312"/>
            <a:ext cx="115186" cy="52656"/>
          </a:xfrm>
          <a:custGeom>
            <a:avLst/>
            <a:gdLst>
              <a:gd name="T0" fmla="*/ 0 w 70"/>
              <a:gd name="T1" fmla="*/ 3175 h 32"/>
              <a:gd name="T2" fmla="*/ 0 w 70"/>
              <a:gd name="T3" fmla="*/ 3175 h 32"/>
              <a:gd name="T4" fmla="*/ 3175 w 70"/>
              <a:gd name="T5" fmla="*/ 6350 h 32"/>
              <a:gd name="T6" fmla="*/ 7144 w 70"/>
              <a:gd name="T7" fmla="*/ 6350 h 32"/>
              <a:gd name="T8" fmla="*/ 10319 w 70"/>
              <a:gd name="T9" fmla="*/ 3175 h 32"/>
              <a:gd name="T10" fmla="*/ 14288 w 70"/>
              <a:gd name="T11" fmla="*/ 0 h 32"/>
              <a:gd name="T12" fmla="*/ 0 w 70"/>
              <a:gd name="T13" fmla="*/ 3175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32"/>
              <a:gd name="T23" fmla="*/ 70 w 70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32">
                <a:moveTo>
                  <a:pt x="0" y="17"/>
                </a:moveTo>
                <a:lnTo>
                  <a:pt x="0" y="17"/>
                </a:lnTo>
                <a:lnTo>
                  <a:pt x="18" y="32"/>
                </a:lnTo>
                <a:lnTo>
                  <a:pt x="35" y="32"/>
                </a:lnTo>
                <a:lnTo>
                  <a:pt x="52" y="17"/>
                </a:lnTo>
                <a:lnTo>
                  <a:pt x="70" y="0"/>
                </a:lnTo>
                <a:lnTo>
                  <a:pt x="0" y="17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Line 214"/>
          <p:cNvSpPr>
            <a:spLocks noChangeShapeType="1"/>
          </p:cNvSpPr>
          <p:nvPr/>
        </p:nvSpPr>
        <p:spPr bwMode="auto">
          <a:xfrm flipV="1">
            <a:off x="5492887" y="2596821"/>
            <a:ext cx="23038" cy="78984"/>
          </a:xfrm>
          <a:prstGeom prst="line">
            <a:avLst/>
          </a:pr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6" name="Freeform 225"/>
          <p:cNvSpPr>
            <a:spLocks/>
          </p:cNvSpPr>
          <p:nvPr/>
        </p:nvSpPr>
        <p:spPr bwMode="auto">
          <a:xfrm>
            <a:off x="6246524" y="2399361"/>
            <a:ext cx="55948" cy="52656"/>
          </a:xfrm>
          <a:custGeom>
            <a:avLst/>
            <a:gdLst>
              <a:gd name="T0" fmla="*/ 6169 w 35"/>
              <a:gd name="T1" fmla="*/ 6158 h 33"/>
              <a:gd name="T2" fmla="*/ 6169 w 35"/>
              <a:gd name="T3" fmla="*/ 6158 h 33"/>
              <a:gd name="T4" fmla="*/ 3084 w 35"/>
              <a:gd name="T5" fmla="*/ 6158 h 33"/>
              <a:gd name="T6" fmla="*/ 0 w 35"/>
              <a:gd name="T7" fmla="*/ 0 h 33"/>
              <a:gd name="T8" fmla="*/ 6169 w 35"/>
              <a:gd name="T9" fmla="*/ 3079 h 33"/>
              <a:gd name="T10" fmla="*/ 6169 w 35"/>
              <a:gd name="T11" fmla="*/ 6158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33"/>
              <a:gd name="T20" fmla="*/ 35 w 35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33">
                <a:moveTo>
                  <a:pt x="35" y="33"/>
                </a:moveTo>
                <a:lnTo>
                  <a:pt x="35" y="33"/>
                </a:lnTo>
                <a:lnTo>
                  <a:pt x="17" y="33"/>
                </a:lnTo>
                <a:lnTo>
                  <a:pt x="0" y="0"/>
                </a:lnTo>
                <a:lnTo>
                  <a:pt x="35" y="17"/>
                </a:lnTo>
                <a:lnTo>
                  <a:pt x="35" y="33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Freeform 226"/>
          <p:cNvSpPr>
            <a:spLocks/>
          </p:cNvSpPr>
          <p:nvPr/>
        </p:nvSpPr>
        <p:spPr bwMode="auto">
          <a:xfrm>
            <a:off x="5815405" y="2557329"/>
            <a:ext cx="342263" cy="236951"/>
          </a:xfrm>
          <a:custGeom>
            <a:avLst/>
            <a:gdLst>
              <a:gd name="T0" fmla="*/ 0 w 207"/>
              <a:gd name="T1" fmla="*/ 28575 h 144"/>
              <a:gd name="T2" fmla="*/ 0 w 207"/>
              <a:gd name="T3" fmla="*/ 28575 h 144"/>
              <a:gd name="T4" fmla="*/ 3988 w 207"/>
              <a:gd name="T5" fmla="*/ 25400 h 144"/>
              <a:gd name="T6" fmla="*/ 7178 w 207"/>
              <a:gd name="T7" fmla="*/ 19050 h 144"/>
              <a:gd name="T8" fmla="*/ 3988 w 207"/>
              <a:gd name="T9" fmla="*/ 15875 h 144"/>
              <a:gd name="T10" fmla="*/ 3988 w 207"/>
              <a:gd name="T11" fmla="*/ 6350 h 144"/>
              <a:gd name="T12" fmla="*/ 7178 w 207"/>
              <a:gd name="T13" fmla="*/ 6350 h 144"/>
              <a:gd name="T14" fmla="*/ 7178 w 207"/>
              <a:gd name="T15" fmla="*/ 3969 h 144"/>
              <a:gd name="T16" fmla="*/ 17547 w 207"/>
              <a:gd name="T17" fmla="*/ 0 h 144"/>
              <a:gd name="T18" fmla="*/ 20737 w 207"/>
              <a:gd name="T19" fmla="*/ 3969 h 144"/>
              <a:gd name="T20" fmla="*/ 31106 w 207"/>
              <a:gd name="T21" fmla="*/ 0 h 144"/>
              <a:gd name="T22" fmla="*/ 41474 w 207"/>
              <a:gd name="T23" fmla="*/ 0 h 144"/>
              <a:gd name="T24" fmla="*/ 35094 w 207"/>
              <a:gd name="T25" fmla="*/ 3969 h 144"/>
              <a:gd name="T26" fmla="*/ 31106 w 207"/>
              <a:gd name="T27" fmla="*/ 15875 h 144"/>
              <a:gd name="T28" fmla="*/ 20737 w 207"/>
              <a:gd name="T29" fmla="*/ 22225 h 144"/>
              <a:gd name="T30" fmla="*/ 17547 w 207"/>
              <a:gd name="T31" fmla="*/ 22225 h 144"/>
              <a:gd name="T32" fmla="*/ 7178 w 207"/>
              <a:gd name="T33" fmla="*/ 28575 h 144"/>
              <a:gd name="T34" fmla="*/ 0 w 207"/>
              <a:gd name="T35" fmla="*/ 28575 h 14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07"/>
              <a:gd name="T55" fmla="*/ 0 h 144"/>
              <a:gd name="T56" fmla="*/ 207 w 207"/>
              <a:gd name="T57" fmla="*/ 144 h 14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07" h="144">
                <a:moveTo>
                  <a:pt x="0" y="144"/>
                </a:moveTo>
                <a:lnTo>
                  <a:pt x="0" y="144"/>
                </a:lnTo>
                <a:lnTo>
                  <a:pt x="17" y="128"/>
                </a:lnTo>
                <a:lnTo>
                  <a:pt x="34" y="96"/>
                </a:lnTo>
                <a:lnTo>
                  <a:pt x="17" y="80"/>
                </a:lnTo>
                <a:lnTo>
                  <a:pt x="17" y="32"/>
                </a:lnTo>
                <a:lnTo>
                  <a:pt x="34" y="32"/>
                </a:lnTo>
                <a:lnTo>
                  <a:pt x="34" y="17"/>
                </a:lnTo>
                <a:lnTo>
                  <a:pt x="86" y="0"/>
                </a:lnTo>
                <a:lnTo>
                  <a:pt x="104" y="17"/>
                </a:lnTo>
                <a:lnTo>
                  <a:pt x="155" y="0"/>
                </a:lnTo>
                <a:lnTo>
                  <a:pt x="207" y="0"/>
                </a:lnTo>
                <a:lnTo>
                  <a:pt x="173" y="17"/>
                </a:lnTo>
                <a:lnTo>
                  <a:pt x="155" y="80"/>
                </a:lnTo>
                <a:lnTo>
                  <a:pt x="104" y="113"/>
                </a:lnTo>
                <a:lnTo>
                  <a:pt x="86" y="113"/>
                </a:lnTo>
                <a:lnTo>
                  <a:pt x="34" y="144"/>
                </a:lnTo>
                <a:lnTo>
                  <a:pt x="0" y="144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Freeform 227"/>
          <p:cNvSpPr>
            <a:spLocks/>
          </p:cNvSpPr>
          <p:nvPr/>
        </p:nvSpPr>
        <p:spPr bwMode="auto">
          <a:xfrm>
            <a:off x="5759456" y="2767952"/>
            <a:ext cx="85566" cy="184296"/>
          </a:xfrm>
          <a:custGeom>
            <a:avLst/>
            <a:gdLst>
              <a:gd name="T0" fmla="*/ 7144 w 52"/>
              <a:gd name="T1" fmla="*/ 3175 h 112"/>
              <a:gd name="T2" fmla="*/ 7144 w 52"/>
              <a:gd name="T3" fmla="*/ 3175 h 112"/>
              <a:gd name="T4" fmla="*/ 7144 w 52"/>
              <a:gd name="T5" fmla="*/ 7144 h 112"/>
              <a:gd name="T6" fmla="*/ 7144 w 52"/>
              <a:gd name="T7" fmla="*/ 12700 h 112"/>
              <a:gd name="T8" fmla="*/ 3969 w 52"/>
              <a:gd name="T9" fmla="*/ 22225 h 112"/>
              <a:gd name="T10" fmla="*/ 0 w 52"/>
              <a:gd name="T11" fmla="*/ 9525 h 112"/>
              <a:gd name="T12" fmla="*/ 3969 w 52"/>
              <a:gd name="T13" fmla="*/ 7144 h 112"/>
              <a:gd name="T14" fmla="*/ 7144 w 52"/>
              <a:gd name="T15" fmla="*/ 0 h 112"/>
              <a:gd name="T16" fmla="*/ 10319 w 52"/>
              <a:gd name="T17" fmla="*/ 0 h 112"/>
              <a:gd name="T18" fmla="*/ 7144 w 52"/>
              <a:gd name="T19" fmla="*/ 3175 h 1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2"/>
              <a:gd name="T31" fmla="*/ 0 h 112"/>
              <a:gd name="T32" fmla="*/ 52 w 52"/>
              <a:gd name="T33" fmla="*/ 112 h 1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2" h="112">
                <a:moveTo>
                  <a:pt x="35" y="16"/>
                </a:moveTo>
                <a:lnTo>
                  <a:pt x="35" y="16"/>
                </a:lnTo>
                <a:lnTo>
                  <a:pt x="35" y="33"/>
                </a:lnTo>
                <a:lnTo>
                  <a:pt x="35" y="64"/>
                </a:lnTo>
                <a:lnTo>
                  <a:pt x="18" y="112"/>
                </a:lnTo>
                <a:lnTo>
                  <a:pt x="0" y="48"/>
                </a:lnTo>
                <a:lnTo>
                  <a:pt x="18" y="33"/>
                </a:lnTo>
                <a:lnTo>
                  <a:pt x="35" y="0"/>
                </a:lnTo>
                <a:lnTo>
                  <a:pt x="52" y="0"/>
                </a:lnTo>
                <a:lnTo>
                  <a:pt x="35" y="16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Freeform 228"/>
          <p:cNvSpPr>
            <a:spLocks/>
          </p:cNvSpPr>
          <p:nvPr/>
        </p:nvSpPr>
        <p:spPr bwMode="auto">
          <a:xfrm>
            <a:off x="5986536" y="2531001"/>
            <a:ext cx="427830" cy="421247"/>
          </a:xfrm>
          <a:custGeom>
            <a:avLst/>
            <a:gdLst>
              <a:gd name="T0" fmla="*/ 31076 w 259"/>
              <a:gd name="T1" fmla="*/ 3175 h 256"/>
              <a:gd name="T2" fmla="*/ 31076 w 259"/>
              <a:gd name="T3" fmla="*/ 3175 h 256"/>
              <a:gd name="T4" fmla="*/ 34263 w 259"/>
              <a:gd name="T5" fmla="*/ 9525 h 256"/>
              <a:gd name="T6" fmla="*/ 38247 w 259"/>
              <a:gd name="T7" fmla="*/ 9525 h 256"/>
              <a:gd name="T8" fmla="*/ 38247 w 259"/>
              <a:gd name="T9" fmla="*/ 15875 h 256"/>
              <a:gd name="T10" fmla="*/ 34263 w 259"/>
              <a:gd name="T11" fmla="*/ 22225 h 256"/>
              <a:gd name="T12" fmla="*/ 38247 w 259"/>
              <a:gd name="T13" fmla="*/ 28575 h 256"/>
              <a:gd name="T14" fmla="*/ 44622 w 259"/>
              <a:gd name="T15" fmla="*/ 31750 h 256"/>
              <a:gd name="T16" fmla="*/ 48606 w 259"/>
              <a:gd name="T17" fmla="*/ 41275 h 256"/>
              <a:gd name="T18" fmla="*/ 51793 w 259"/>
              <a:gd name="T19" fmla="*/ 44450 h 256"/>
              <a:gd name="T20" fmla="*/ 51793 w 259"/>
              <a:gd name="T21" fmla="*/ 47625 h 256"/>
              <a:gd name="T22" fmla="*/ 44622 w 259"/>
              <a:gd name="T23" fmla="*/ 47625 h 256"/>
              <a:gd name="T24" fmla="*/ 41434 w 259"/>
              <a:gd name="T25" fmla="*/ 50800 h 256"/>
              <a:gd name="T26" fmla="*/ 34263 w 259"/>
              <a:gd name="T27" fmla="*/ 47625 h 256"/>
              <a:gd name="T28" fmla="*/ 31076 w 259"/>
              <a:gd name="T29" fmla="*/ 50800 h 256"/>
              <a:gd name="T30" fmla="*/ 23904 w 259"/>
              <a:gd name="T31" fmla="*/ 47625 h 256"/>
              <a:gd name="T32" fmla="*/ 23904 w 259"/>
              <a:gd name="T33" fmla="*/ 44450 h 256"/>
              <a:gd name="T34" fmla="*/ 20717 w 259"/>
              <a:gd name="T35" fmla="*/ 41275 h 256"/>
              <a:gd name="T36" fmla="*/ 10359 w 259"/>
              <a:gd name="T37" fmla="*/ 34925 h 256"/>
              <a:gd name="T38" fmla="*/ 0 w 259"/>
              <a:gd name="T39" fmla="*/ 31750 h 256"/>
              <a:gd name="T40" fmla="*/ 0 w 259"/>
              <a:gd name="T41" fmla="*/ 25400 h 256"/>
              <a:gd name="T42" fmla="*/ 10359 w 259"/>
              <a:gd name="T43" fmla="*/ 19050 h 256"/>
              <a:gd name="T44" fmla="*/ 14343 w 259"/>
              <a:gd name="T45" fmla="*/ 6350 h 256"/>
              <a:gd name="T46" fmla="*/ 20717 w 259"/>
              <a:gd name="T47" fmla="*/ 3175 h 256"/>
              <a:gd name="T48" fmla="*/ 20717 w 259"/>
              <a:gd name="T49" fmla="*/ 0 h 256"/>
              <a:gd name="T50" fmla="*/ 31076 w 259"/>
              <a:gd name="T51" fmla="*/ 3175 h 25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59"/>
              <a:gd name="T79" fmla="*/ 0 h 256"/>
              <a:gd name="T80" fmla="*/ 259 w 259"/>
              <a:gd name="T81" fmla="*/ 256 h 25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59" h="256">
                <a:moveTo>
                  <a:pt x="155" y="16"/>
                </a:moveTo>
                <a:lnTo>
                  <a:pt x="155" y="16"/>
                </a:lnTo>
                <a:lnTo>
                  <a:pt x="172" y="48"/>
                </a:lnTo>
                <a:lnTo>
                  <a:pt x="190" y="48"/>
                </a:lnTo>
                <a:lnTo>
                  <a:pt x="190" y="81"/>
                </a:lnTo>
                <a:lnTo>
                  <a:pt x="172" y="112"/>
                </a:lnTo>
                <a:lnTo>
                  <a:pt x="190" y="144"/>
                </a:lnTo>
                <a:lnTo>
                  <a:pt x="224" y="160"/>
                </a:lnTo>
                <a:lnTo>
                  <a:pt x="241" y="208"/>
                </a:lnTo>
                <a:lnTo>
                  <a:pt x="259" y="225"/>
                </a:lnTo>
                <a:lnTo>
                  <a:pt x="259" y="240"/>
                </a:lnTo>
                <a:lnTo>
                  <a:pt x="224" y="240"/>
                </a:lnTo>
                <a:lnTo>
                  <a:pt x="207" y="256"/>
                </a:lnTo>
                <a:lnTo>
                  <a:pt x="172" y="240"/>
                </a:lnTo>
                <a:lnTo>
                  <a:pt x="155" y="256"/>
                </a:lnTo>
                <a:lnTo>
                  <a:pt x="120" y="240"/>
                </a:lnTo>
                <a:lnTo>
                  <a:pt x="120" y="225"/>
                </a:lnTo>
                <a:lnTo>
                  <a:pt x="103" y="208"/>
                </a:lnTo>
                <a:lnTo>
                  <a:pt x="51" y="177"/>
                </a:lnTo>
                <a:lnTo>
                  <a:pt x="0" y="160"/>
                </a:lnTo>
                <a:lnTo>
                  <a:pt x="0" y="129"/>
                </a:lnTo>
                <a:lnTo>
                  <a:pt x="51" y="96"/>
                </a:lnTo>
                <a:lnTo>
                  <a:pt x="69" y="33"/>
                </a:lnTo>
                <a:lnTo>
                  <a:pt x="103" y="16"/>
                </a:lnTo>
                <a:lnTo>
                  <a:pt x="103" y="0"/>
                </a:lnTo>
                <a:lnTo>
                  <a:pt x="155" y="16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0" name="Freeform 229"/>
          <p:cNvSpPr>
            <a:spLocks/>
          </p:cNvSpPr>
          <p:nvPr/>
        </p:nvSpPr>
        <p:spPr bwMode="auto">
          <a:xfrm>
            <a:off x="5815404" y="2688968"/>
            <a:ext cx="62530" cy="78984"/>
          </a:xfrm>
          <a:custGeom>
            <a:avLst/>
            <a:gdLst>
              <a:gd name="T0" fmla="*/ 4189 w 36"/>
              <a:gd name="T1" fmla="*/ 9525 h 48"/>
              <a:gd name="T2" fmla="*/ 4189 w 36"/>
              <a:gd name="T3" fmla="*/ 9525 h 48"/>
              <a:gd name="T4" fmla="*/ 0 w 36"/>
              <a:gd name="T5" fmla="*/ 9525 h 48"/>
              <a:gd name="T6" fmla="*/ 4189 w 36"/>
              <a:gd name="T7" fmla="*/ 0 h 48"/>
              <a:gd name="T8" fmla="*/ 8379 w 36"/>
              <a:gd name="T9" fmla="*/ 3175 h 48"/>
              <a:gd name="T10" fmla="*/ 4189 w 36"/>
              <a:gd name="T11" fmla="*/ 9525 h 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6"/>
              <a:gd name="T19" fmla="*/ 0 h 48"/>
              <a:gd name="T20" fmla="*/ 36 w 36"/>
              <a:gd name="T21" fmla="*/ 48 h 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6" h="48">
                <a:moveTo>
                  <a:pt x="17" y="48"/>
                </a:moveTo>
                <a:lnTo>
                  <a:pt x="17" y="48"/>
                </a:lnTo>
                <a:lnTo>
                  <a:pt x="0" y="48"/>
                </a:lnTo>
                <a:lnTo>
                  <a:pt x="17" y="0"/>
                </a:lnTo>
                <a:lnTo>
                  <a:pt x="36" y="16"/>
                </a:lnTo>
                <a:lnTo>
                  <a:pt x="17" y="48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Freeform 230"/>
          <p:cNvSpPr>
            <a:spLocks/>
          </p:cNvSpPr>
          <p:nvPr/>
        </p:nvSpPr>
        <p:spPr bwMode="auto">
          <a:xfrm>
            <a:off x="6328799" y="2925920"/>
            <a:ext cx="85566" cy="52656"/>
          </a:xfrm>
          <a:custGeom>
            <a:avLst/>
            <a:gdLst>
              <a:gd name="T0" fmla="*/ 0 w 52"/>
              <a:gd name="T1" fmla="*/ 3079 h 33"/>
              <a:gd name="T2" fmla="*/ 0 w 52"/>
              <a:gd name="T3" fmla="*/ 3079 h 33"/>
              <a:gd name="T4" fmla="*/ 3969 w 52"/>
              <a:gd name="T5" fmla="*/ 0 h 33"/>
              <a:gd name="T6" fmla="*/ 10319 w 52"/>
              <a:gd name="T7" fmla="*/ 0 h 33"/>
              <a:gd name="T8" fmla="*/ 7144 w 52"/>
              <a:gd name="T9" fmla="*/ 3079 h 33"/>
              <a:gd name="T10" fmla="*/ 10319 w 52"/>
              <a:gd name="T11" fmla="*/ 6158 h 33"/>
              <a:gd name="T12" fmla="*/ 0 w 52"/>
              <a:gd name="T13" fmla="*/ 3079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"/>
              <a:gd name="T22" fmla="*/ 0 h 33"/>
              <a:gd name="T23" fmla="*/ 52 w 52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" h="33">
                <a:moveTo>
                  <a:pt x="0" y="16"/>
                </a:moveTo>
                <a:lnTo>
                  <a:pt x="0" y="16"/>
                </a:lnTo>
                <a:lnTo>
                  <a:pt x="17" y="0"/>
                </a:lnTo>
                <a:lnTo>
                  <a:pt x="52" y="0"/>
                </a:lnTo>
                <a:lnTo>
                  <a:pt x="34" y="16"/>
                </a:lnTo>
                <a:lnTo>
                  <a:pt x="52" y="33"/>
                </a:lnTo>
                <a:lnTo>
                  <a:pt x="0" y="16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Freeform 231"/>
          <p:cNvSpPr>
            <a:spLocks/>
          </p:cNvSpPr>
          <p:nvPr/>
        </p:nvSpPr>
        <p:spPr bwMode="auto">
          <a:xfrm>
            <a:off x="3475507" y="2978576"/>
            <a:ext cx="32910" cy="26328"/>
          </a:xfrm>
          <a:custGeom>
            <a:avLst/>
            <a:gdLst>
              <a:gd name="T0" fmla="*/ 0 w 20"/>
              <a:gd name="T1" fmla="*/ 0 h 15"/>
              <a:gd name="T2" fmla="*/ 0 w 20"/>
              <a:gd name="T3" fmla="*/ 0 h 15"/>
              <a:gd name="T4" fmla="*/ 0 w 20"/>
              <a:gd name="T5" fmla="*/ 3387 h 15"/>
              <a:gd name="T6" fmla="*/ 3969 w 20"/>
              <a:gd name="T7" fmla="*/ 0 h 15"/>
              <a:gd name="T8" fmla="*/ 0 w 20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5"/>
              <a:gd name="T17" fmla="*/ 20 w 20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5">
                <a:moveTo>
                  <a:pt x="0" y="0"/>
                </a:moveTo>
                <a:lnTo>
                  <a:pt x="0" y="0"/>
                </a:lnTo>
                <a:lnTo>
                  <a:pt x="0" y="15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3" name="Freeform 232"/>
          <p:cNvSpPr>
            <a:spLocks/>
          </p:cNvSpPr>
          <p:nvPr/>
        </p:nvSpPr>
        <p:spPr bwMode="auto">
          <a:xfrm>
            <a:off x="3593982" y="2978576"/>
            <a:ext cx="23038" cy="26328"/>
          </a:xfrm>
          <a:custGeom>
            <a:avLst/>
            <a:gdLst>
              <a:gd name="T0" fmla="*/ 2084 w 16"/>
              <a:gd name="T1" fmla="*/ 0 h 15"/>
              <a:gd name="T2" fmla="*/ 2084 w 16"/>
              <a:gd name="T3" fmla="*/ 0 h 15"/>
              <a:gd name="T4" fmla="*/ 0 w 16"/>
              <a:gd name="T5" fmla="*/ 3387 h 15"/>
              <a:gd name="T6" fmla="*/ 2084 w 16"/>
              <a:gd name="T7" fmla="*/ 3387 h 15"/>
              <a:gd name="T8" fmla="*/ 2084 w 16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16" y="0"/>
                </a:moveTo>
                <a:lnTo>
                  <a:pt x="16" y="0"/>
                </a:lnTo>
                <a:lnTo>
                  <a:pt x="0" y="15"/>
                </a:lnTo>
                <a:lnTo>
                  <a:pt x="16" y="15"/>
                </a:lnTo>
                <a:lnTo>
                  <a:pt x="16" y="0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4" name="Freeform 233"/>
          <p:cNvSpPr>
            <a:spLocks/>
          </p:cNvSpPr>
          <p:nvPr/>
        </p:nvSpPr>
        <p:spPr bwMode="auto">
          <a:xfrm>
            <a:off x="4765576" y="4926845"/>
            <a:ext cx="595671" cy="526560"/>
          </a:xfrm>
          <a:custGeom>
            <a:avLst/>
            <a:gdLst>
              <a:gd name="T0" fmla="*/ 23813 w 362"/>
              <a:gd name="T1" fmla="*/ 63500 h 320"/>
              <a:gd name="T2" fmla="*/ 23813 w 362"/>
              <a:gd name="T3" fmla="*/ 63500 h 320"/>
              <a:gd name="T4" fmla="*/ 19844 w 362"/>
              <a:gd name="T5" fmla="*/ 57150 h 320"/>
              <a:gd name="T6" fmla="*/ 14288 w 362"/>
              <a:gd name="T7" fmla="*/ 38100 h 320"/>
              <a:gd name="T8" fmla="*/ 14288 w 362"/>
              <a:gd name="T9" fmla="*/ 28575 h 320"/>
              <a:gd name="T10" fmla="*/ 0 w 362"/>
              <a:gd name="T11" fmla="*/ 3969 h 320"/>
              <a:gd name="T12" fmla="*/ 0 w 362"/>
              <a:gd name="T13" fmla="*/ 0 h 320"/>
              <a:gd name="T14" fmla="*/ 7144 w 362"/>
              <a:gd name="T15" fmla="*/ 0 h 320"/>
              <a:gd name="T16" fmla="*/ 14288 w 362"/>
              <a:gd name="T17" fmla="*/ 0 h 320"/>
              <a:gd name="T18" fmla="*/ 34131 w 362"/>
              <a:gd name="T19" fmla="*/ 3969 h 320"/>
              <a:gd name="T20" fmla="*/ 40481 w 362"/>
              <a:gd name="T21" fmla="*/ 3969 h 320"/>
              <a:gd name="T22" fmla="*/ 54769 w 362"/>
              <a:gd name="T23" fmla="*/ 7144 h 320"/>
              <a:gd name="T24" fmla="*/ 61913 w 362"/>
              <a:gd name="T25" fmla="*/ 3969 h 320"/>
              <a:gd name="T26" fmla="*/ 65088 w 362"/>
              <a:gd name="T27" fmla="*/ 0 h 320"/>
              <a:gd name="T28" fmla="*/ 72231 w 362"/>
              <a:gd name="T29" fmla="*/ 3969 h 320"/>
              <a:gd name="T30" fmla="*/ 65088 w 362"/>
              <a:gd name="T31" fmla="*/ 9525 h 320"/>
              <a:gd name="T32" fmla="*/ 61913 w 362"/>
              <a:gd name="T33" fmla="*/ 7144 h 320"/>
              <a:gd name="T34" fmla="*/ 51594 w 362"/>
              <a:gd name="T35" fmla="*/ 7144 h 320"/>
              <a:gd name="T36" fmla="*/ 47625 w 362"/>
              <a:gd name="T37" fmla="*/ 26194 h 320"/>
              <a:gd name="T38" fmla="*/ 44450 w 362"/>
              <a:gd name="T39" fmla="*/ 28575 h 320"/>
              <a:gd name="T40" fmla="*/ 44450 w 362"/>
              <a:gd name="T41" fmla="*/ 41275 h 320"/>
              <a:gd name="T42" fmla="*/ 44450 w 362"/>
              <a:gd name="T43" fmla="*/ 61119 h 320"/>
              <a:gd name="T44" fmla="*/ 37306 w 362"/>
              <a:gd name="T45" fmla="*/ 63500 h 320"/>
              <a:gd name="T46" fmla="*/ 30956 w 362"/>
              <a:gd name="T47" fmla="*/ 63500 h 320"/>
              <a:gd name="T48" fmla="*/ 27781 w 362"/>
              <a:gd name="T49" fmla="*/ 61119 h 320"/>
              <a:gd name="T50" fmla="*/ 23813 w 362"/>
              <a:gd name="T51" fmla="*/ 63500 h 32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362"/>
              <a:gd name="T79" fmla="*/ 0 h 320"/>
              <a:gd name="T80" fmla="*/ 362 w 362"/>
              <a:gd name="T81" fmla="*/ 320 h 32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362" h="320">
                <a:moveTo>
                  <a:pt x="121" y="320"/>
                </a:moveTo>
                <a:lnTo>
                  <a:pt x="121" y="320"/>
                </a:lnTo>
                <a:lnTo>
                  <a:pt x="103" y="288"/>
                </a:lnTo>
                <a:lnTo>
                  <a:pt x="69" y="192"/>
                </a:lnTo>
                <a:lnTo>
                  <a:pt x="69" y="144"/>
                </a:lnTo>
                <a:lnTo>
                  <a:pt x="0" y="17"/>
                </a:lnTo>
                <a:lnTo>
                  <a:pt x="0" y="0"/>
                </a:lnTo>
                <a:lnTo>
                  <a:pt x="34" y="0"/>
                </a:lnTo>
                <a:lnTo>
                  <a:pt x="69" y="0"/>
                </a:lnTo>
                <a:lnTo>
                  <a:pt x="172" y="17"/>
                </a:lnTo>
                <a:lnTo>
                  <a:pt x="207" y="17"/>
                </a:lnTo>
                <a:lnTo>
                  <a:pt x="276" y="33"/>
                </a:lnTo>
                <a:lnTo>
                  <a:pt x="311" y="17"/>
                </a:lnTo>
                <a:lnTo>
                  <a:pt x="328" y="0"/>
                </a:lnTo>
                <a:lnTo>
                  <a:pt x="362" y="17"/>
                </a:lnTo>
                <a:lnTo>
                  <a:pt x="328" y="48"/>
                </a:lnTo>
                <a:lnTo>
                  <a:pt x="311" y="33"/>
                </a:lnTo>
                <a:lnTo>
                  <a:pt x="259" y="33"/>
                </a:lnTo>
                <a:lnTo>
                  <a:pt x="241" y="129"/>
                </a:lnTo>
                <a:lnTo>
                  <a:pt x="224" y="144"/>
                </a:lnTo>
                <a:lnTo>
                  <a:pt x="224" y="209"/>
                </a:lnTo>
                <a:lnTo>
                  <a:pt x="224" y="305"/>
                </a:lnTo>
                <a:lnTo>
                  <a:pt x="190" y="320"/>
                </a:lnTo>
                <a:lnTo>
                  <a:pt x="155" y="320"/>
                </a:lnTo>
                <a:lnTo>
                  <a:pt x="138" y="305"/>
                </a:lnTo>
                <a:lnTo>
                  <a:pt x="121" y="320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5" name="Freeform 234"/>
          <p:cNvSpPr>
            <a:spLocks/>
          </p:cNvSpPr>
          <p:nvPr/>
        </p:nvSpPr>
        <p:spPr bwMode="auto">
          <a:xfrm>
            <a:off x="4959747" y="5137470"/>
            <a:ext cx="743765" cy="605543"/>
          </a:xfrm>
          <a:custGeom>
            <a:avLst/>
            <a:gdLst>
              <a:gd name="T0" fmla="*/ 82733 w 451"/>
              <a:gd name="T1" fmla="*/ 2381 h 368"/>
              <a:gd name="T2" fmla="*/ 86711 w 451"/>
              <a:gd name="T3" fmla="*/ 21431 h 368"/>
              <a:gd name="T4" fmla="*/ 82733 w 451"/>
              <a:gd name="T5" fmla="*/ 21431 h 368"/>
              <a:gd name="T6" fmla="*/ 79551 w 451"/>
              <a:gd name="T7" fmla="*/ 25400 h 368"/>
              <a:gd name="T8" fmla="*/ 82733 w 451"/>
              <a:gd name="T9" fmla="*/ 28575 h 368"/>
              <a:gd name="T10" fmla="*/ 86711 w 451"/>
              <a:gd name="T11" fmla="*/ 25400 h 368"/>
              <a:gd name="T12" fmla="*/ 89893 w 451"/>
              <a:gd name="T13" fmla="*/ 25400 h 368"/>
              <a:gd name="T14" fmla="*/ 89893 w 451"/>
              <a:gd name="T15" fmla="*/ 28575 h 368"/>
              <a:gd name="T16" fmla="*/ 89893 w 451"/>
              <a:gd name="T17" fmla="*/ 37306 h 368"/>
              <a:gd name="T18" fmla="*/ 82733 w 451"/>
              <a:gd name="T19" fmla="*/ 40481 h 368"/>
              <a:gd name="T20" fmla="*/ 76369 w 451"/>
              <a:gd name="T21" fmla="*/ 50006 h 368"/>
              <a:gd name="T22" fmla="*/ 66027 w 451"/>
              <a:gd name="T23" fmla="*/ 60325 h 368"/>
              <a:gd name="T24" fmla="*/ 58868 w 451"/>
              <a:gd name="T25" fmla="*/ 66675 h 368"/>
              <a:gd name="T26" fmla="*/ 48526 w 451"/>
              <a:gd name="T27" fmla="*/ 69850 h 368"/>
              <a:gd name="T28" fmla="*/ 42162 w 451"/>
              <a:gd name="T29" fmla="*/ 69850 h 368"/>
              <a:gd name="T30" fmla="*/ 31820 w 451"/>
              <a:gd name="T31" fmla="*/ 69850 h 368"/>
              <a:gd name="T32" fmla="*/ 20683 w 451"/>
              <a:gd name="T33" fmla="*/ 73025 h 368"/>
              <a:gd name="T34" fmla="*/ 17501 w 451"/>
              <a:gd name="T35" fmla="*/ 73025 h 368"/>
              <a:gd name="T36" fmla="*/ 14319 w 451"/>
              <a:gd name="T37" fmla="*/ 69850 h 368"/>
              <a:gd name="T38" fmla="*/ 10342 w 451"/>
              <a:gd name="T39" fmla="*/ 60325 h 368"/>
              <a:gd name="T40" fmla="*/ 10342 w 451"/>
              <a:gd name="T41" fmla="*/ 57150 h 368"/>
              <a:gd name="T42" fmla="*/ 3978 w 451"/>
              <a:gd name="T43" fmla="*/ 37306 h 368"/>
              <a:gd name="T44" fmla="*/ 0 w 451"/>
              <a:gd name="T45" fmla="*/ 37306 h 368"/>
              <a:gd name="T46" fmla="*/ 3978 w 451"/>
              <a:gd name="T47" fmla="*/ 34925 h 368"/>
              <a:gd name="T48" fmla="*/ 7160 w 451"/>
              <a:gd name="T49" fmla="*/ 37306 h 368"/>
              <a:gd name="T50" fmla="*/ 14319 w 451"/>
              <a:gd name="T51" fmla="*/ 37306 h 368"/>
              <a:gd name="T52" fmla="*/ 20683 w 451"/>
              <a:gd name="T53" fmla="*/ 34925 h 368"/>
              <a:gd name="T54" fmla="*/ 20683 w 451"/>
              <a:gd name="T55" fmla="*/ 15875 h 368"/>
              <a:gd name="T56" fmla="*/ 24661 w 451"/>
              <a:gd name="T57" fmla="*/ 19050 h 368"/>
              <a:gd name="T58" fmla="*/ 24661 w 451"/>
              <a:gd name="T59" fmla="*/ 25400 h 368"/>
              <a:gd name="T60" fmla="*/ 31820 w 451"/>
              <a:gd name="T61" fmla="*/ 25400 h 368"/>
              <a:gd name="T62" fmla="*/ 42162 w 451"/>
              <a:gd name="T63" fmla="*/ 19050 h 368"/>
              <a:gd name="T64" fmla="*/ 45344 w 451"/>
              <a:gd name="T65" fmla="*/ 21431 h 368"/>
              <a:gd name="T66" fmla="*/ 48526 w 451"/>
              <a:gd name="T67" fmla="*/ 19050 h 368"/>
              <a:gd name="T68" fmla="*/ 62845 w 451"/>
              <a:gd name="T69" fmla="*/ 6350 h 368"/>
              <a:gd name="T70" fmla="*/ 72391 w 451"/>
              <a:gd name="T71" fmla="*/ 0 h 368"/>
              <a:gd name="T72" fmla="*/ 79551 w 451"/>
              <a:gd name="T73" fmla="*/ 2381 h 368"/>
              <a:gd name="T74" fmla="*/ 82733 w 451"/>
              <a:gd name="T75" fmla="*/ 2381 h 36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51"/>
              <a:gd name="T115" fmla="*/ 0 h 368"/>
              <a:gd name="T116" fmla="*/ 451 w 451"/>
              <a:gd name="T117" fmla="*/ 368 h 36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51" h="368">
                <a:moveTo>
                  <a:pt x="416" y="15"/>
                </a:moveTo>
                <a:lnTo>
                  <a:pt x="433" y="111"/>
                </a:lnTo>
                <a:lnTo>
                  <a:pt x="416" y="111"/>
                </a:lnTo>
                <a:lnTo>
                  <a:pt x="399" y="128"/>
                </a:lnTo>
                <a:lnTo>
                  <a:pt x="416" y="143"/>
                </a:lnTo>
                <a:lnTo>
                  <a:pt x="433" y="128"/>
                </a:lnTo>
                <a:lnTo>
                  <a:pt x="451" y="128"/>
                </a:lnTo>
                <a:lnTo>
                  <a:pt x="451" y="143"/>
                </a:lnTo>
                <a:lnTo>
                  <a:pt x="451" y="191"/>
                </a:lnTo>
                <a:lnTo>
                  <a:pt x="416" y="207"/>
                </a:lnTo>
                <a:lnTo>
                  <a:pt x="382" y="255"/>
                </a:lnTo>
                <a:lnTo>
                  <a:pt x="330" y="303"/>
                </a:lnTo>
                <a:lnTo>
                  <a:pt x="295" y="335"/>
                </a:lnTo>
                <a:lnTo>
                  <a:pt x="243" y="351"/>
                </a:lnTo>
                <a:lnTo>
                  <a:pt x="209" y="351"/>
                </a:lnTo>
                <a:lnTo>
                  <a:pt x="157" y="351"/>
                </a:lnTo>
                <a:lnTo>
                  <a:pt x="103" y="368"/>
                </a:lnTo>
                <a:lnTo>
                  <a:pt x="86" y="368"/>
                </a:lnTo>
                <a:lnTo>
                  <a:pt x="69" y="351"/>
                </a:lnTo>
                <a:lnTo>
                  <a:pt x="51" y="303"/>
                </a:lnTo>
                <a:lnTo>
                  <a:pt x="51" y="287"/>
                </a:lnTo>
                <a:lnTo>
                  <a:pt x="17" y="191"/>
                </a:lnTo>
                <a:lnTo>
                  <a:pt x="0" y="191"/>
                </a:lnTo>
                <a:lnTo>
                  <a:pt x="17" y="176"/>
                </a:lnTo>
                <a:lnTo>
                  <a:pt x="34" y="191"/>
                </a:lnTo>
                <a:lnTo>
                  <a:pt x="69" y="191"/>
                </a:lnTo>
                <a:lnTo>
                  <a:pt x="103" y="176"/>
                </a:lnTo>
                <a:lnTo>
                  <a:pt x="103" y="80"/>
                </a:lnTo>
                <a:lnTo>
                  <a:pt x="121" y="96"/>
                </a:lnTo>
                <a:lnTo>
                  <a:pt x="121" y="128"/>
                </a:lnTo>
                <a:lnTo>
                  <a:pt x="157" y="128"/>
                </a:lnTo>
                <a:lnTo>
                  <a:pt x="209" y="96"/>
                </a:lnTo>
                <a:lnTo>
                  <a:pt x="226" y="111"/>
                </a:lnTo>
                <a:lnTo>
                  <a:pt x="243" y="96"/>
                </a:lnTo>
                <a:lnTo>
                  <a:pt x="313" y="32"/>
                </a:lnTo>
                <a:lnTo>
                  <a:pt x="364" y="0"/>
                </a:lnTo>
                <a:lnTo>
                  <a:pt x="399" y="15"/>
                </a:lnTo>
                <a:lnTo>
                  <a:pt x="416" y="15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6" name="Freeform 235"/>
          <p:cNvSpPr>
            <a:spLocks/>
          </p:cNvSpPr>
          <p:nvPr/>
        </p:nvSpPr>
        <p:spPr bwMode="auto">
          <a:xfrm>
            <a:off x="5130878" y="4953174"/>
            <a:ext cx="431121" cy="394919"/>
          </a:xfrm>
          <a:custGeom>
            <a:avLst/>
            <a:gdLst>
              <a:gd name="T0" fmla="*/ 0 w 261"/>
              <a:gd name="T1" fmla="*/ 38100 h 240"/>
              <a:gd name="T2" fmla="*/ 0 w 261"/>
              <a:gd name="T3" fmla="*/ 38100 h 240"/>
              <a:gd name="T4" fmla="*/ 3984 w 261"/>
              <a:gd name="T5" fmla="*/ 41275 h 240"/>
              <a:gd name="T6" fmla="*/ 3984 w 261"/>
              <a:gd name="T7" fmla="*/ 47625 h 240"/>
              <a:gd name="T8" fmla="*/ 10358 w 261"/>
              <a:gd name="T9" fmla="*/ 47625 h 240"/>
              <a:gd name="T10" fmla="*/ 20717 w 261"/>
              <a:gd name="T11" fmla="*/ 41275 h 240"/>
              <a:gd name="T12" fmla="*/ 24701 w 261"/>
              <a:gd name="T13" fmla="*/ 44450 h 240"/>
              <a:gd name="T14" fmla="*/ 27888 w 261"/>
              <a:gd name="T15" fmla="*/ 41275 h 240"/>
              <a:gd name="T16" fmla="*/ 42230 w 261"/>
              <a:gd name="T17" fmla="*/ 28575 h 240"/>
              <a:gd name="T18" fmla="*/ 52588 w 261"/>
              <a:gd name="T19" fmla="*/ 22225 h 240"/>
              <a:gd name="T20" fmla="*/ 45417 w 261"/>
              <a:gd name="T21" fmla="*/ 22225 h 240"/>
              <a:gd name="T22" fmla="*/ 42230 w 261"/>
              <a:gd name="T23" fmla="*/ 15875 h 240"/>
              <a:gd name="T24" fmla="*/ 35059 w 261"/>
              <a:gd name="T25" fmla="*/ 9525 h 240"/>
              <a:gd name="T26" fmla="*/ 27888 w 261"/>
              <a:gd name="T27" fmla="*/ 0 h 240"/>
              <a:gd name="T28" fmla="*/ 20717 w 261"/>
              <a:gd name="T29" fmla="*/ 6350 h 240"/>
              <a:gd name="T30" fmla="*/ 17529 w 261"/>
              <a:gd name="T31" fmla="*/ 3175 h 240"/>
              <a:gd name="T32" fmla="*/ 7171 w 261"/>
              <a:gd name="T33" fmla="*/ 3175 h 240"/>
              <a:gd name="T34" fmla="*/ 3984 w 261"/>
              <a:gd name="T35" fmla="*/ 22225 h 240"/>
              <a:gd name="T36" fmla="*/ 0 w 261"/>
              <a:gd name="T37" fmla="*/ 24606 h 240"/>
              <a:gd name="T38" fmla="*/ 0 w 261"/>
              <a:gd name="T39" fmla="*/ 38100 h 24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61"/>
              <a:gd name="T61" fmla="*/ 0 h 240"/>
              <a:gd name="T62" fmla="*/ 261 w 261"/>
              <a:gd name="T63" fmla="*/ 240 h 24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61" h="240">
                <a:moveTo>
                  <a:pt x="0" y="192"/>
                </a:moveTo>
                <a:lnTo>
                  <a:pt x="0" y="192"/>
                </a:lnTo>
                <a:lnTo>
                  <a:pt x="18" y="208"/>
                </a:lnTo>
                <a:lnTo>
                  <a:pt x="18" y="240"/>
                </a:lnTo>
                <a:lnTo>
                  <a:pt x="52" y="240"/>
                </a:lnTo>
                <a:lnTo>
                  <a:pt x="104" y="208"/>
                </a:lnTo>
                <a:lnTo>
                  <a:pt x="121" y="223"/>
                </a:lnTo>
                <a:lnTo>
                  <a:pt x="139" y="208"/>
                </a:lnTo>
                <a:lnTo>
                  <a:pt x="210" y="144"/>
                </a:lnTo>
                <a:lnTo>
                  <a:pt x="261" y="112"/>
                </a:lnTo>
                <a:lnTo>
                  <a:pt x="227" y="112"/>
                </a:lnTo>
                <a:lnTo>
                  <a:pt x="210" y="79"/>
                </a:lnTo>
                <a:lnTo>
                  <a:pt x="173" y="48"/>
                </a:lnTo>
                <a:lnTo>
                  <a:pt x="139" y="0"/>
                </a:lnTo>
                <a:lnTo>
                  <a:pt x="104" y="31"/>
                </a:lnTo>
                <a:lnTo>
                  <a:pt x="87" y="16"/>
                </a:lnTo>
                <a:lnTo>
                  <a:pt x="35" y="16"/>
                </a:lnTo>
                <a:lnTo>
                  <a:pt x="18" y="112"/>
                </a:lnTo>
                <a:lnTo>
                  <a:pt x="0" y="127"/>
                </a:lnTo>
                <a:lnTo>
                  <a:pt x="0" y="192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7" name="Freeform 236"/>
          <p:cNvSpPr>
            <a:spLocks/>
          </p:cNvSpPr>
          <p:nvPr/>
        </p:nvSpPr>
        <p:spPr bwMode="auto">
          <a:xfrm>
            <a:off x="5361246" y="4874189"/>
            <a:ext cx="371884" cy="286318"/>
          </a:xfrm>
          <a:custGeom>
            <a:avLst/>
            <a:gdLst>
              <a:gd name="T0" fmla="*/ 27905 w 225"/>
              <a:gd name="T1" fmla="*/ 0 h 175"/>
              <a:gd name="T2" fmla="*/ 27905 w 225"/>
              <a:gd name="T3" fmla="*/ 0 h 175"/>
              <a:gd name="T4" fmla="*/ 20729 w 225"/>
              <a:gd name="T5" fmla="*/ 0 h 175"/>
              <a:gd name="T6" fmla="*/ 20729 w 225"/>
              <a:gd name="T7" fmla="*/ 3157 h 175"/>
              <a:gd name="T8" fmla="*/ 10365 w 225"/>
              <a:gd name="T9" fmla="*/ 9471 h 175"/>
              <a:gd name="T10" fmla="*/ 0 w 225"/>
              <a:gd name="T11" fmla="*/ 9471 h 175"/>
              <a:gd name="T12" fmla="*/ 7176 w 225"/>
              <a:gd name="T13" fmla="*/ 18941 h 175"/>
              <a:gd name="T14" fmla="*/ 14351 w 225"/>
              <a:gd name="T15" fmla="*/ 24466 h 175"/>
              <a:gd name="T16" fmla="*/ 17540 w 225"/>
              <a:gd name="T17" fmla="*/ 31569 h 175"/>
              <a:gd name="T18" fmla="*/ 24716 w 225"/>
              <a:gd name="T19" fmla="*/ 31569 h 175"/>
              <a:gd name="T20" fmla="*/ 31094 w 225"/>
              <a:gd name="T21" fmla="*/ 33936 h 175"/>
              <a:gd name="T22" fmla="*/ 35080 w 225"/>
              <a:gd name="T23" fmla="*/ 33936 h 175"/>
              <a:gd name="T24" fmla="*/ 41459 w 225"/>
              <a:gd name="T25" fmla="*/ 22098 h 175"/>
              <a:gd name="T26" fmla="*/ 45445 w 225"/>
              <a:gd name="T27" fmla="*/ 9471 h 175"/>
              <a:gd name="T28" fmla="*/ 41459 w 225"/>
              <a:gd name="T29" fmla="*/ 3157 h 175"/>
              <a:gd name="T30" fmla="*/ 35080 w 225"/>
              <a:gd name="T31" fmla="*/ 0 h 175"/>
              <a:gd name="T32" fmla="*/ 27905 w 225"/>
              <a:gd name="T33" fmla="*/ 0 h 17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25"/>
              <a:gd name="T52" fmla="*/ 0 h 175"/>
              <a:gd name="T53" fmla="*/ 225 w 225"/>
              <a:gd name="T54" fmla="*/ 175 h 17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25" h="175">
                <a:moveTo>
                  <a:pt x="139" y="0"/>
                </a:moveTo>
                <a:lnTo>
                  <a:pt x="139" y="0"/>
                </a:lnTo>
                <a:lnTo>
                  <a:pt x="104" y="0"/>
                </a:lnTo>
                <a:lnTo>
                  <a:pt x="104" y="16"/>
                </a:lnTo>
                <a:lnTo>
                  <a:pt x="52" y="48"/>
                </a:lnTo>
                <a:lnTo>
                  <a:pt x="0" y="48"/>
                </a:lnTo>
                <a:lnTo>
                  <a:pt x="35" y="96"/>
                </a:lnTo>
                <a:lnTo>
                  <a:pt x="70" y="127"/>
                </a:lnTo>
                <a:lnTo>
                  <a:pt x="87" y="160"/>
                </a:lnTo>
                <a:lnTo>
                  <a:pt x="121" y="160"/>
                </a:lnTo>
                <a:lnTo>
                  <a:pt x="156" y="175"/>
                </a:lnTo>
                <a:lnTo>
                  <a:pt x="173" y="175"/>
                </a:lnTo>
                <a:lnTo>
                  <a:pt x="208" y="112"/>
                </a:lnTo>
                <a:lnTo>
                  <a:pt x="225" y="48"/>
                </a:lnTo>
                <a:lnTo>
                  <a:pt x="208" y="16"/>
                </a:lnTo>
                <a:lnTo>
                  <a:pt x="173" y="0"/>
                </a:lnTo>
                <a:lnTo>
                  <a:pt x="139" y="0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8" name="Freeform 237"/>
          <p:cNvSpPr>
            <a:spLocks/>
          </p:cNvSpPr>
          <p:nvPr/>
        </p:nvSpPr>
        <p:spPr bwMode="auto">
          <a:xfrm>
            <a:off x="5588325" y="4637238"/>
            <a:ext cx="483778" cy="710855"/>
          </a:xfrm>
          <a:custGeom>
            <a:avLst/>
            <a:gdLst>
              <a:gd name="T0" fmla="*/ 14336 w 293"/>
              <a:gd name="T1" fmla="*/ 85725 h 432"/>
              <a:gd name="T2" fmla="*/ 14336 w 293"/>
              <a:gd name="T3" fmla="*/ 85725 h 432"/>
              <a:gd name="T4" fmla="*/ 14336 w 293"/>
              <a:gd name="T5" fmla="*/ 82550 h 432"/>
              <a:gd name="T6" fmla="*/ 14336 w 293"/>
              <a:gd name="T7" fmla="*/ 79375 h 432"/>
              <a:gd name="T8" fmla="*/ 27876 w 293"/>
              <a:gd name="T9" fmla="*/ 76200 h 432"/>
              <a:gd name="T10" fmla="*/ 31062 w 293"/>
              <a:gd name="T11" fmla="*/ 73025 h 432"/>
              <a:gd name="T12" fmla="*/ 31062 w 293"/>
              <a:gd name="T13" fmla="*/ 63500 h 432"/>
              <a:gd name="T14" fmla="*/ 24690 w 293"/>
              <a:gd name="T15" fmla="*/ 50800 h 432"/>
              <a:gd name="T16" fmla="*/ 38230 w 293"/>
              <a:gd name="T17" fmla="*/ 38100 h 432"/>
              <a:gd name="T18" fmla="*/ 48584 w 293"/>
              <a:gd name="T19" fmla="*/ 34925 h 432"/>
              <a:gd name="T20" fmla="*/ 58938 w 293"/>
              <a:gd name="T21" fmla="*/ 24606 h 432"/>
              <a:gd name="T22" fmla="*/ 54956 w 293"/>
              <a:gd name="T23" fmla="*/ 0 h 432"/>
              <a:gd name="T24" fmla="*/ 48584 w 293"/>
              <a:gd name="T25" fmla="*/ 5556 h 432"/>
              <a:gd name="T26" fmla="*/ 34248 w 293"/>
              <a:gd name="T27" fmla="*/ 5556 h 432"/>
              <a:gd name="T28" fmla="*/ 27876 w 293"/>
              <a:gd name="T29" fmla="*/ 5556 h 432"/>
              <a:gd name="T30" fmla="*/ 24690 w 293"/>
              <a:gd name="T31" fmla="*/ 9525 h 432"/>
              <a:gd name="T32" fmla="*/ 27876 w 293"/>
              <a:gd name="T33" fmla="*/ 15875 h 432"/>
              <a:gd name="T34" fmla="*/ 31062 w 293"/>
              <a:gd name="T35" fmla="*/ 22225 h 432"/>
              <a:gd name="T36" fmla="*/ 31062 w 293"/>
              <a:gd name="T37" fmla="*/ 28575 h 432"/>
              <a:gd name="T38" fmla="*/ 27876 w 293"/>
              <a:gd name="T39" fmla="*/ 34925 h 432"/>
              <a:gd name="T40" fmla="*/ 24690 w 293"/>
              <a:gd name="T41" fmla="*/ 28575 h 432"/>
              <a:gd name="T42" fmla="*/ 24690 w 293"/>
              <a:gd name="T43" fmla="*/ 22225 h 432"/>
              <a:gd name="T44" fmla="*/ 20708 w 293"/>
              <a:gd name="T45" fmla="*/ 22225 h 432"/>
              <a:gd name="T46" fmla="*/ 17522 w 293"/>
              <a:gd name="T47" fmla="*/ 19050 h 432"/>
              <a:gd name="T48" fmla="*/ 0 w 293"/>
              <a:gd name="T49" fmla="*/ 24606 h 432"/>
              <a:gd name="T50" fmla="*/ 0 w 293"/>
              <a:gd name="T51" fmla="*/ 28575 h 432"/>
              <a:gd name="T52" fmla="*/ 7168 w 293"/>
              <a:gd name="T53" fmla="*/ 28575 h 432"/>
              <a:gd name="T54" fmla="*/ 14336 w 293"/>
              <a:gd name="T55" fmla="*/ 31750 h 432"/>
              <a:gd name="T56" fmla="*/ 17522 w 293"/>
              <a:gd name="T57" fmla="*/ 38100 h 432"/>
              <a:gd name="T58" fmla="*/ 14336 w 293"/>
              <a:gd name="T59" fmla="*/ 50800 h 432"/>
              <a:gd name="T60" fmla="*/ 7168 w 293"/>
              <a:gd name="T61" fmla="*/ 63500 h 432"/>
              <a:gd name="T62" fmla="*/ 10354 w 293"/>
              <a:gd name="T63" fmla="*/ 82550 h 432"/>
              <a:gd name="T64" fmla="*/ 10354 w 293"/>
              <a:gd name="T65" fmla="*/ 85725 h 432"/>
              <a:gd name="T66" fmla="*/ 14336 w 293"/>
              <a:gd name="T67" fmla="*/ 85725 h 43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93"/>
              <a:gd name="T103" fmla="*/ 0 h 432"/>
              <a:gd name="T104" fmla="*/ 293 w 293"/>
              <a:gd name="T105" fmla="*/ 432 h 43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93" h="432">
                <a:moveTo>
                  <a:pt x="69" y="432"/>
                </a:moveTo>
                <a:lnTo>
                  <a:pt x="69" y="432"/>
                </a:lnTo>
                <a:lnTo>
                  <a:pt x="69" y="415"/>
                </a:lnTo>
                <a:lnTo>
                  <a:pt x="69" y="400"/>
                </a:lnTo>
                <a:lnTo>
                  <a:pt x="138" y="384"/>
                </a:lnTo>
                <a:lnTo>
                  <a:pt x="155" y="367"/>
                </a:lnTo>
                <a:lnTo>
                  <a:pt x="155" y="319"/>
                </a:lnTo>
                <a:lnTo>
                  <a:pt x="121" y="256"/>
                </a:lnTo>
                <a:lnTo>
                  <a:pt x="190" y="192"/>
                </a:lnTo>
                <a:lnTo>
                  <a:pt x="242" y="175"/>
                </a:lnTo>
                <a:lnTo>
                  <a:pt x="293" y="127"/>
                </a:lnTo>
                <a:lnTo>
                  <a:pt x="276" y="0"/>
                </a:lnTo>
                <a:lnTo>
                  <a:pt x="242" y="31"/>
                </a:lnTo>
                <a:lnTo>
                  <a:pt x="172" y="31"/>
                </a:lnTo>
                <a:lnTo>
                  <a:pt x="138" y="31"/>
                </a:lnTo>
                <a:lnTo>
                  <a:pt x="121" y="48"/>
                </a:lnTo>
                <a:lnTo>
                  <a:pt x="138" y="79"/>
                </a:lnTo>
                <a:lnTo>
                  <a:pt x="155" y="112"/>
                </a:lnTo>
                <a:lnTo>
                  <a:pt x="155" y="144"/>
                </a:lnTo>
                <a:lnTo>
                  <a:pt x="138" y="175"/>
                </a:lnTo>
                <a:lnTo>
                  <a:pt x="121" y="144"/>
                </a:lnTo>
                <a:lnTo>
                  <a:pt x="121" y="112"/>
                </a:lnTo>
                <a:lnTo>
                  <a:pt x="103" y="112"/>
                </a:lnTo>
                <a:lnTo>
                  <a:pt x="86" y="96"/>
                </a:lnTo>
                <a:lnTo>
                  <a:pt x="0" y="127"/>
                </a:lnTo>
                <a:lnTo>
                  <a:pt x="0" y="144"/>
                </a:lnTo>
                <a:lnTo>
                  <a:pt x="34" y="144"/>
                </a:lnTo>
                <a:lnTo>
                  <a:pt x="69" y="160"/>
                </a:lnTo>
                <a:lnTo>
                  <a:pt x="86" y="192"/>
                </a:lnTo>
                <a:lnTo>
                  <a:pt x="69" y="256"/>
                </a:lnTo>
                <a:lnTo>
                  <a:pt x="34" y="319"/>
                </a:lnTo>
                <a:lnTo>
                  <a:pt x="51" y="415"/>
                </a:lnTo>
                <a:lnTo>
                  <a:pt x="51" y="432"/>
                </a:lnTo>
                <a:lnTo>
                  <a:pt x="69" y="432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9" name="Freeform 238"/>
          <p:cNvSpPr>
            <a:spLocks/>
          </p:cNvSpPr>
          <p:nvPr/>
        </p:nvSpPr>
        <p:spPr bwMode="auto">
          <a:xfrm>
            <a:off x="5703510" y="4610910"/>
            <a:ext cx="141514" cy="315935"/>
          </a:xfrm>
          <a:custGeom>
            <a:avLst/>
            <a:gdLst>
              <a:gd name="T0" fmla="*/ 3969 w 86"/>
              <a:gd name="T1" fmla="*/ 22225 h 192"/>
              <a:gd name="T2" fmla="*/ 3969 w 86"/>
              <a:gd name="T3" fmla="*/ 22225 h 192"/>
              <a:gd name="T4" fmla="*/ 0 w 86"/>
              <a:gd name="T5" fmla="*/ 19050 h 192"/>
              <a:gd name="T6" fmla="*/ 3969 w 86"/>
              <a:gd name="T7" fmla="*/ 13494 h 192"/>
              <a:gd name="T8" fmla="*/ 3969 w 86"/>
              <a:gd name="T9" fmla="*/ 9525 h 192"/>
              <a:gd name="T10" fmla="*/ 7144 w 86"/>
              <a:gd name="T11" fmla="*/ 7144 h 192"/>
              <a:gd name="T12" fmla="*/ 3969 w 86"/>
              <a:gd name="T13" fmla="*/ 0 h 192"/>
              <a:gd name="T14" fmla="*/ 7144 w 86"/>
              <a:gd name="T15" fmla="*/ 0 h 192"/>
              <a:gd name="T16" fmla="*/ 10319 w 86"/>
              <a:gd name="T17" fmla="*/ 0 h 192"/>
              <a:gd name="T18" fmla="*/ 14288 w 86"/>
              <a:gd name="T19" fmla="*/ 9525 h 192"/>
              <a:gd name="T20" fmla="*/ 10319 w 86"/>
              <a:gd name="T21" fmla="*/ 13494 h 192"/>
              <a:gd name="T22" fmla="*/ 14288 w 86"/>
              <a:gd name="T23" fmla="*/ 19050 h 192"/>
              <a:gd name="T24" fmla="*/ 17463 w 86"/>
              <a:gd name="T25" fmla="*/ 26194 h 192"/>
              <a:gd name="T26" fmla="*/ 17463 w 86"/>
              <a:gd name="T27" fmla="*/ 32544 h 192"/>
              <a:gd name="T28" fmla="*/ 14288 w 86"/>
              <a:gd name="T29" fmla="*/ 38100 h 192"/>
              <a:gd name="T30" fmla="*/ 10319 w 86"/>
              <a:gd name="T31" fmla="*/ 32544 h 192"/>
              <a:gd name="T32" fmla="*/ 10319 w 86"/>
              <a:gd name="T33" fmla="*/ 26194 h 192"/>
              <a:gd name="T34" fmla="*/ 7144 w 86"/>
              <a:gd name="T35" fmla="*/ 26194 h 192"/>
              <a:gd name="T36" fmla="*/ 3969 w 86"/>
              <a:gd name="T37" fmla="*/ 22225 h 19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86"/>
              <a:gd name="T58" fmla="*/ 0 h 192"/>
              <a:gd name="T59" fmla="*/ 86 w 86"/>
              <a:gd name="T60" fmla="*/ 192 h 19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86" h="192">
                <a:moveTo>
                  <a:pt x="17" y="113"/>
                </a:moveTo>
                <a:lnTo>
                  <a:pt x="17" y="113"/>
                </a:lnTo>
                <a:lnTo>
                  <a:pt x="0" y="96"/>
                </a:lnTo>
                <a:lnTo>
                  <a:pt x="17" y="65"/>
                </a:lnTo>
                <a:lnTo>
                  <a:pt x="17" y="48"/>
                </a:lnTo>
                <a:lnTo>
                  <a:pt x="34" y="33"/>
                </a:lnTo>
                <a:lnTo>
                  <a:pt x="17" y="0"/>
                </a:lnTo>
                <a:lnTo>
                  <a:pt x="34" y="0"/>
                </a:lnTo>
                <a:lnTo>
                  <a:pt x="52" y="0"/>
                </a:lnTo>
                <a:lnTo>
                  <a:pt x="69" y="48"/>
                </a:lnTo>
                <a:lnTo>
                  <a:pt x="52" y="65"/>
                </a:lnTo>
                <a:lnTo>
                  <a:pt x="69" y="96"/>
                </a:lnTo>
                <a:lnTo>
                  <a:pt x="86" y="129"/>
                </a:lnTo>
                <a:lnTo>
                  <a:pt x="86" y="161"/>
                </a:lnTo>
                <a:lnTo>
                  <a:pt x="69" y="192"/>
                </a:lnTo>
                <a:lnTo>
                  <a:pt x="52" y="161"/>
                </a:lnTo>
                <a:lnTo>
                  <a:pt x="52" y="129"/>
                </a:lnTo>
                <a:lnTo>
                  <a:pt x="34" y="129"/>
                </a:lnTo>
                <a:lnTo>
                  <a:pt x="17" y="113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0" name="Freeform 239"/>
          <p:cNvSpPr>
            <a:spLocks/>
          </p:cNvSpPr>
          <p:nvPr/>
        </p:nvSpPr>
        <p:spPr bwMode="auto">
          <a:xfrm>
            <a:off x="5617944" y="5318474"/>
            <a:ext cx="55948" cy="55948"/>
          </a:xfrm>
          <a:custGeom>
            <a:avLst/>
            <a:gdLst>
              <a:gd name="T0" fmla="*/ 7144 w 34"/>
              <a:gd name="T1" fmla="*/ 4217 h 32"/>
              <a:gd name="T2" fmla="*/ 7144 w 34"/>
              <a:gd name="T3" fmla="*/ 4217 h 32"/>
              <a:gd name="T4" fmla="*/ 7144 w 34"/>
              <a:gd name="T5" fmla="*/ 0 h 32"/>
              <a:gd name="T6" fmla="*/ 3175 w 34"/>
              <a:gd name="T7" fmla="*/ 0 h 32"/>
              <a:gd name="T8" fmla="*/ 0 w 34"/>
              <a:gd name="T9" fmla="*/ 4217 h 32"/>
              <a:gd name="T10" fmla="*/ 3175 w 34"/>
              <a:gd name="T11" fmla="*/ 7590 h 32"/>
              <a:gd name="T12" fmla="*/ 7144 w 34"/>
              <a:gd name="T13" fmla="*/ 4217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32"/>
              <a:gd name="T23" fmla="*/ 34 w 34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32">
                <a:moveTo>
                  <a:pt x="34" y="17"/>
                </a:moveTo>
                <a:lnTo>
                  <a:pt x="34" y="17"/>
                </a:lnTo>
                <a:lnTo>
                  <a:pt x="34" y="0"/>
                </a:lnTo>
                <a:lnTo>
                  <a:pt x="17" y="0"/>
                </a:lnTo>
                <a:lnTo>
                  <a:pt x="0" y="17"/>
                </a:lnTo>
                <a:lnTo>
                  <a:pt x="17" y="32"/>
                </a:lnTo>
                <a:lnTo>
                  <a:pt x="34" y="17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1" name="Freeform 240"/>
          <p:cNvSpPr>
            <a:spLocks/>
          </p:cNvSpPr>
          <p:nvPr/>
        </p:nvSpPr>
        <p:spPr bwMode="auto">
          <a:xfrm>
            <a:off x="6190578" y="4716221"/>
            <a:ext cx="309354" cy="579216"/>
          </a:xfrm>
          <a:custGeom>
            <a:avLst/>
            <a:gdLst>
              <a:gd name="T0" fmla="*/ 0 w 189"/>
              <a:gd name="T1" fmla="*/ 50800 h 352"/>
              <a:gd name="T2" fmla="*/ 0 w 189"/>
              <a:gd name="T3" fmla="*/ 50800 h 352"/>
              <a:gd name="T4" fmla="*/ 3158 w 189"/>
              <a:gd name="T5" fmla="*/ 63500 h 352"/>
              <a:gd name="T6" fmla="*/ 6316 w 189"/>
              <a:gd name="T7" fmla="*/ 69850 h 352"/>
              <a:gd name="T8" fmla="*/ 16581 w 189"/>
              <a:gd name="T9" fmla="*/ 69850 h 352"/>
              <a:gd name="T10" fmla="*/ 20528 w 189"/>
              <a:gd name="T11" fmla="*/ 66675 h 352"/>
              <a:gd name="T12" fmla="*/ 30792 w 189"/>
              <a:gd name="T13" fmla="*/ 31750 h 352"/>
              <a:gd name="T14" fmla="*/ 33951 w 189"/>
              <a:gd name="T15" fmla="*/ 15875 h 352"/>
              <a:gd name="T16" fmla="*/ 37109 w 189"/>
              <a:gd name="T17" fmla="*/ 19050 h 352"/>
              <a:gd name="T18" fmla="*/ 37109 w 189"/>
              <a:gd name="T19" fmla="*/ 15875 h 352"/>
              <a:gd name="T20" fmla="*/ 33951 w 189"/>
              <a:gd name="T21" fmla="*/ 3175 h 352"/>
              <a:gd name="T22" fmla="*/ 30792 w 189"/>
              <a:gd name="T23" fmla="*/ 0 h 352"/>
              <a:gd name="T24" fmla="*/ 26845 w 189"/>
              <a:gd name="T25" fmla="*/ 5556 h 352"/>
              <a:gd name="T26" fmla="*/ 23687 w 189"/>
              <a:gd name="T27" fmla="*/ 5556 h 352"/>
              <a:gd name="T28" fmla="*/ 23687 w 189"/>
              <a:gd name="T29" fmla="*/ 12700 h 352"/>
              <a:gd name="T30" fmla="*/ 6316 w 189"/>
              <a:gd name="T31" fmla="*/ 22225 h 352"/>
              <a:gd name="T32" fmla="*/ 3158 w 189"/>
              <a:gd name="T33" fmla="*/ 28575 h 352"/>
              <a:gd name="T34" fmla="*/ 6316 w 189"/>
              <a:gd name="T35" fmla="*/ 41275 h 352"/>
              <a:gd name="T36" fmla="*/ 0 w 189"/>
              <a:gd name="T37" fmla="*/ 50800 h 35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89"/>
              <a:gd name="T58" fmla="*/ 0 h 352"/>
              <a:gd name="T59" fmla="*/ 189 w 189"/>
              <a:gd name="T60" fmla="*/ 352 h 35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89" h="352">
                <a:moveTo>
                  <a:pt x="0" y="256"/>
                </a:moveTo>
                <a:lnTo>
                  <a:pt x="0" y="256"/>
                </a:lnTo>
                <a:lnTo>
                  <a:pt x="18" y="319"/>
                </a:lnTo>
                <a:lnTo>
                  <a:pt x="35" y="352"/>
                </a:lnTo>
                <a:lnTo>
                  <a:pt x="87" y="352"/>
                </a:lnTo>
                <a:lnTo>
                  <a:pt x="104" y="336"/>
                </a:lnTo>
                <a:lnTo>
                  <a:pt x="156" y="160"/>
                </a:lnTo>
                <a:lnTo>
                  <a:pt x="173" y="79"/>
                </a:lnTo>
                <a:lnTo>
                  <a:pt x="189" y="96"/>
                </a:lnTo>
                <a:lnTo>
                  <a:pt x="189" y="79"/>
                </a:lnTo>
                <a:lnTo>
                  <a:pt x="173" y="16"/>
                </a:lnTo>
                <a:lnTo>
                  <a:pt x="156" y="0"/>
                </a:lnTo>
                <a:lnTo>
                  <a:pt x="139" y="31"/>
                </a:lnTo>
                <a:lnTo>
                  <a:pt x="121" y="31"/>
                </a:lnTo>
                <a:lnTo>
                  <a:pt x="121" y="64"/>
                </a:lnTo>
                <a:lnTo>
                  <a:pt x="35" y="112"/>
                </a:lnTo>
                <a:lnTo>
                  <a:pt x="18" y="144"/>
                </a:lnTo>
                <a:lnTo>
                  <a:pt x="35" y="208"/>
                </a:lnTo>
                <a:lnTo>
                  <a:pt x="0" y="256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2" name="Freeform 241"/>
          <p:cNvSpPr>
            <a:spLocks/>
          </p:cNvSpPr>
          <p:nvPr/>
        </p:nvSpPr>
        <p:spPr bwMode="auto">
          <a:xfrm>
            <a:off x="6819157" y="5058485"/>
            <a:ext cx="23038" cy="23038"/>
          </a:xfrm>
          <a:custGeom>
            <a:avLst/>
            <a:gdLst>
              <a:gd name="T0" fmla="*/ 0 w 16"/>
              <a:gd name="T1" fmla="*/ 2223 h 15"/>
              <a:gd name="T2" fmla="*/ 0 w 16"/>
              <a:gd name="T3" fmla="*/ 2223 h 15"/>
              <a:gd name="T4" fmla="*/ 2084 w 16"/>
              <a:gd name="T5" fmla="*/ 2223 h 15"/>
              <a:gd name="T6" fmla="*/ 0 w 16"/>
              <a:gd name="T7" fmla="*/ 0 h 15"/>
              <a:gd name="T8" fmla="*/ 0 w 16"/>
              <a:gd name="T9" fmla="*/ 2223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0" y="15"/>
                </a:moveTo>
                <a:lnTo>
                  <a:pt x="0" y="15"/>
                </a:lnTo>
                <a:lnTo>
                  <a:pt x="16" y="15"/>
                </a:lnTo>
                <a:lnTo>
                  <a:pt x="0" y="0"/>
                </a:lnTo>
                <a:lnTo>
                  <a:pt x="0" y="15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3" name="Freeform 242"/>
          <p:cNvSpPr>
            <a:spLocks/>
          </p:cNvSpPr>
          <p:nvPr/>
        </p:nvSpPr>
        <p:spPr bwMode="auto">
          <a:xfrm>
            <a:off x="4617483" y="4058022"/>
            <a:ext cx="26328" cy="26328"/>
          </a:xfrm>
          <a:custGeom>
            <a:avLst/>
            <a:gdLst>
              <a:gd name="T0" fmla="*/ 0 w 18"/>
              <a:gd name="T1" fmla="*/ 2822 h 18"/>
              <a:gd name="T2" fmla="*/ 0 w 18"/>
              <a:gd name="T3" fmla="*/ 2822 h 18"/>
              <a:gd name="T4" fmla="*/ 2822 w 18"/>
              <a:gd name="T5" fmla="*/ 0 h 18"/>
              <a:gd name="T6" fmla="*/ 0 w 18"/>
              <a:gd name="T7" fmla="*/ 0 h 18"/>
              <a:gd name="T8" fmla="*/ 0 w 18"/>
              <a:gd name="T9" fmla="*/ 2822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8"/>
              <a:gd name="T17" fmla="*/ 18 w 18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8">
                <a:moveTo>
                  <a:pt x="0" y="18"/>
                </a:moveTo>
                <a:lnTo>
                  <a:pt x="0" y="18"/>
                </a:lnTo>
                <a:lnTo>
                  <a:pt x="18" y="0"/>
                </a:lnTo>
                <a:lnTo>
                  <a:pt x="0" y="0"/>
                </a:lnTo>
                <a:lnTo>
                  <a:pt x="0" y="18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4" name="Freeform 243"/>
          <p:cNvSpPr>
            <a:spLocks/>
          </p:cNvSpPr>
          <p:nvPr/>
        </p:nvSpPr>
        <p:spPr bwMode="auto">
          <a:xfrm>
            <a:off x="5446813" y="5427076"/>
            <a:ext cx="115186" cy="105312"/>
          </a:xfrm>
          <a:custGeom>
            <a:avLst/>
            <a:gdLst>
              <a:gd name="T0" fmla="*/ 14495 w 69"/>
              <a:gd name="T1" fmla="*/ 6451 h 63"/>
              <a:gd name="T2" fmla="*/ 14495 w 69"/>
              <a:gd name="T3" fmla="*/ 6451 h 63"/>
              <a:gd name="T4" fmla="*/ 10468 w 69"/>
              <a:gd name="T5" fmla="*/ 9676 h 63"/>
              <a:gd name="T6" fmla="*/ 4026 w 69"/>
              <a:gd name="T7" fmla="*/ 12902 h 63"/>
              <a:gd name="T8" fmla="*/ 0 w 69"/>
              <a:gd name="T9" fmla="*/ 9676 h 63"/>
              <a:gd name="T10" fmla="*/ 7247 w 69"/>
              <a:gd name="T11" fmla="*/ 0 h 63"/>
              <a:gd name="T12" fmla="*/ 10468 w 69"/>
              <a:gd name="T13" fmla="*/ 3225 h 63"/>
              <a:gd name="T14" fmla="*/ 14495 w 69"/>
              <a:gd name="T15" fmla="*/ 6451 h 6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9"/>
              <a:gd name="T25" fmla="*/ 0 h 63"/>
              <a:gd name="T26" fmla="*/ 69 w 69"/>
              <a:gd name="T27" fmla="*/ 63 h 6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9" h="63">
                <a:moveTo>
                  <a:pt x="69" y="31"/>
                </a:moveTo>
                <a:lnTo>
                  <a:pt x="69" y="31"/>
                </a:lnTo>
                <a:lnTo>
                  <a:pt x="52" y="48"/>
                </a:lnTo>
                <a:lnTo>
                  <a:pt x="18" y="63"/>
                </a:lnTo>
                <a:lnTo>
                  <a:pt x="0" y="48"/>
                </a:lnTo>
                <a:lnTo>
                  <a:pt x="35" y="0"/>
                </a:lnTo>
                <a:lnTo>
                  <a:pt x="52" y="15"/>
                </a:lnTo>
                <a:lnTo>
                  <a:pt x="69" y="31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5" name="Freeform 244"/>
          <p:cNvSpPr>
            <a:spLocks/>
          </p:cNvSpPr>
          <p:nvPr/>
        </p:nvSpPr>
        <p:spPr bwMode="auto">
          <a:xfrm>
            <a:off x="5561998" y="4242319"/>
            <a:ext cx="487067" cy="447575"/>
          </a:xfrm>
          <a:custGeom>
            <a:avLst/>
            <a:gdLst>
              <a:gd name="T0" fmla="*/ 20637 w 296"/>
              <a:gd name="T1" fmla="*/ 44779 h 270"/>
              <a:gd name="T2" fmla="*/ 20637 w 296"/>
              <a:gd name="T3" fmla="*/ 44779 h 270"/>
              <a:gd name="T4" fmla="*/ 10319 w 296"/>
              <a:gd name="T5" fmla="*/ 38382 h 270"/>
              <a:gd name="T6" fmla="*/ 7144 w 296"/>
              <a:gd name="T7" fmla="*/ 38382 h 270"/>
              <a:gd name="T8" fmla="*/ 0 w 296"/>
              <a:gd name="T9" fmla="*/ 28787 h 270"/>
              <a:gd name="T10" fmla="*/ 0 w 296"/>
              <a:gd name="T11" fmla="*/ 19191 h 270"/>
              <a:gd name="T12" fmla="*/ 7144 w 296"/>
              <a:gd name="T13" fmla="*/ 12794 h 270"/>
              <a:gd name="T14" fmla="*/ 7144 w 296"/>
              <a:gd name="T15" fmla="*/ 9596 h 270"/>
              <a:gd name="T16" fmla="*/ 7144 w 296"/>
              <a:gd name="T17" fmla="*/ 6397 h 270"/>
              <a:gd name="T18" fmla="*/ 7144 w 296"/>
              <a:gd name="T19" fmla="*/ 0 h 270"/>
              <a:gd name="T20" fmla="*/ 14288 w 296"/>
              <a:gd name="T21" fmla="*/ 0 h 270"/>
              <a:gd name="T22" fmla="*/ 23812 w 296"/>
              <a:gd name="T23" fmla="*/ 0 h 270"/>
              <a:gd name="T24" fmla="*/ 27781 w 296"/>
              <a:gd name="T25" fmla="*/ 0 h 270"/>
              <a:gd name="T26" fmla="*/ 44450 w 296"/>
              <a:gd name="T27" fmla="*/ 9596 h 270"/>
              <a:gd name="T28" fmla="*/ 44450 w 296"/>
              <a:gd name="T29" fmla="*/ 15993 h 270"/>
              <a:gd name="T30" fmla="*/ 55563 w 296"/>
              <a:gd name="T31" fmla="*/ 19191 h 270"/>
              <a:gd name="T32" fmla="*/ 52388 w 296"/>
              <a:gd name="T33" fmla="*/ 25588 h 270"/>
              <a:gd name="T34" fmla="*/ 55563 w 296"/>
              <a:gd name="T35" fmla="*/ 31985 h 270"/>
              <a:gd name="T36" fmla="*/ 55563 w 296"/>
              <a:gd name="T37" fmla="*/ 41581 h 270"/>
              <a:gd name="T38" fmla="*/ 55563 w 296"/>
              <a:gd name="T39" fmla="*/ 44779 h 270"/>
              <a:gd name="T40" fmla="*/ 58738 w 296"/>
              <a:gd name="T41" fmla="*/ 47978 h 270"/>
              <a:gd name="T42" fmla="*/ 52388 w 296"/>
              <a:gd name="T43" fmla="*/ 55174 h 270"/>
              <a:gd name="T44" fmla="*/ 37306 w 296"/>
              <a:gd name="T45" fmla="*/ 55174 h 270"/>
              <a:gd name="T46" fmla="*/ 30956 w 296"/>
              <a:gd name="T47" fmla="*/ 55174 h 270"/>
              <a:gd name="T48" fmla="*/ 27781 w 296"/>
              <a:gd name="T49" fmla="*/ 44779 h 270"/>
              <a:gd name="T50" fmla="*/ 23812 w 296"/>
              <a:gd name="T51" fmla="*/ 44779 h 270"/>
              <a:gd name="T52" fmla="*/ 20637 w 296"/>
              <a:gd name="T53" fmla="*/ 44779 h 27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96"/>
              <a:gd name="T82" fmla="*/ 0 h 270"/>
              <a:gd name="T83" fmla="*/ 296 w 296"/>
              <a:gd name="T84" fmla="*/ 270 h 27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96" h="270">
                <a:moveTo>
                  <a:pt x="104" y="222"/>
                </a:moveTo>
                <a:lnTo>
                  <a:pt x="104" y="222"/>
                </a:lnTo>
                <a:lnTo>
                  <a:pt x="52" y="191"/>
                </a:lnTo>
                <a:lnTo>
                  <a:pt x="35" y="191"/>
                </a:lnTo>
                <a:lnTo>
                  <a:pt x="0" y="143"/>
                </a:lnTo>
                <a:lnTo>
                  <a:pt x="0" y="95"/>
                </a:lnTo>
                <a:lnTo>
                  <a:pt x="35" y="63"/>
                </a:lnTo>
                <a:lnTo>
                  <a:pt x="35" y="47"/>
                </a:lnTo>
                <a:lnTo>
                  <a:pt x="35" y="30"/>
                </a:lnTo>
                <a:lnTo>
                  <a:pt x="35" y="0"/>
                </a:lnTo>
                <a:lnTo>
                  <a:pt x="69" y="0"/>
                </a:lnTo>
                <a:lnTo>
                  <a:pt x="121" y="0"/>
                </a:lnTo>
                <a:lnTo>
                  <a:pt x="139" y="0"/>
                </a:lnTo>
                <a:lnTo>
                  <a:pt x="225" y="47"/>
                </a:lnTo>
                <a:lnTo>
                  <a:pt x="225" y="78"/>
                </a:lnTo>
                <a:lnTo>
                  <a:pt x="279" y="95"/>
                </a:lnTo>
                <a:lnTo>
                  <a:pt x="261" y="126"/>
                </a:lnTo>
                <a:lnTo>
                  <a:pt x="279" y="159"/>
                </a:lnTo>
                <a:lnTo>
                  <a:pt x="279" y="207"/>
                </a:lnTo>
                <a:lnTo>
                  <a:pt x="279" y="222"/>
                </a:lnTo>
                <a:lnTo>
                  <a:pt x="296" y="239"/>
                </a:lnTo>
                <a:lnTo>
                  <a:pt x="261" y="270"/>
                </a:lnTo>
                <a:lnTo>
                  <a:pt x="190" y="270"/>
                </a:lnTo>
                <a:lnTo>
                  <a:pt x="156" y="270"/>
                </a:lnTo>
                <a:lnTo>
                  <a:pt x="139" y="222"/>
                </a:lnTo>
                <a:lnTo>
                  <a:pt x="121" y="222"/>
                </a:lnTo>
                <a:lnTo>
                  <a:pt x="104" y="222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6" name="Freeform 245"/>
          <p:cNvSpPr>
            <a:spLocks/>
          </p:cNvSpPr>
          <p:nvPr/>
        </p:nvSpPr>
        <p:spPr bwMode="auto">
          <a:xfrm>
            <a:off x="4617483" y="4110679"/>
            <a:ext cx="259990" cy="263279"/>
          </a:xfrm>
          <a:custGeom>
            <a:avLst/>
            <a:gdLst>
              <a:gd name="T0" fmla="*/ 6271 w 160"/>
              <a:gd name="T1" fmla="*/ 7189 h 159"/>
              <a:gd name="T2" fmla="*/ 6271 w 160"/>
              <a:gd name="T3" fmla="*/ 7189 h 159"/>
              <a:gd name="T4" fmla="*/ 13325 w 160"/>
              <a:gd name="T5" fmla="*/ 7189 h 159"/>
              <a:gd name="T6" fmla="*/ 13325 w 160"/>
              <a:gd name="T7" fmla="*/ 0 h 159"/>
              <a:gd name="T8" fmla="*/ 23515 w 160"/>
              <a:gd name="T9" fmla="*/ 0 h 159"/>
              <a:gd name="T10" fmla="*/ 23515 w 160"/>
              <a:gd name="T11" fmla="*/ 7189 h 159"/>
              <a:gd name="T12" fmla="*/ 27434 w 160"/>
              <a:gd name="T13" fmla="*/ 3195 h 159"/>
              <a:gd name="T14" fmla="*/ 30569 w 160"/>
              <a:gd name="T15" fmla="*/ 7189 h 159"/>
              <a:gd name="T16" fmla="*/ 30569 w 160"/>
              <a:gd name="T17" fmla="*/ 9585 h 159"/>
              <a:gd name="T18" fmla="*/ 30569 w 160"/>
              <a:gd name="T19" fmla="*/ 22365 h 159"/>
              <a:gd name="T20" fmla="*/ 20380 w 160"/>
              <a:gd name="T21" fmla="*/ 22365 h 159"/>
              <a:gd name="T22" fmla="*/ 17244 w 160"/>
              <a:gd name="T23" fmla="*/ 25560 h 159"/>
              <a:gd name="T24" fmla="*/ 17244 w 160"/>
              <a:gd name="T25" fmla="*/ 28755 h 159"/>
              <a:gd name="T26" fmla="*/ 13325 w 160"/>
              <a:gd name="T27" fmla="*/ 28755 h 159"/>
              <a:gd name="T28" fmla="*/ 13325 w 160"/>
              <a:gd name="T29" fmla="*/ 31950 h 159"/>
              <a:gd name="T30" fmla="*/ 6271 w 160"/>
              <a:gd name="T31" fmla="*/ 25560 h 159"/>
              <a:gd name="T32" fmla="*/ 0 w 160"/>
              <a:gd name="T33" fmla="*/ 16774 h 159"/>
              <a:gd name="T34" fmla="*/ 3135 w 160"/>
              <a:gd name="T35" fmla="*/ 12780 h 159"/>
              <a:gd name="T36" fmla="*/ 3135 w 160"/>
              <a:gd name="T37" fmla="*/ 9585 h 159"/>
              <a:gd name="T38" fmla="*/ 6271 w 160"/>
              <a:gd name="T39" fmla="*/ 7189 h 15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0"/>
              <a:gd name="T61" fmla="*/ 0 h 159"/>
              <a:gd name="T62" fmla="*/ 160 w 160"/>
              <a:gd name="T63" fmla="*/ 159 h 15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0" h="159">
                <a:moveTo>
                  <a:pt x="35" y="33"/>
                </a:moveTo>
                <a:lnTo>
                  <a:pt x="35" y="33"/>
                </a:lnTo>
                <a:lnTo>
                  <a:pt x="71" y="33"/>
                </a:lnTo>
                <a:lnTo>
                  <a:pt x="71" y="0"/>
                </a:lnTo>
                <a:lnTo>
                  <a:pt x="123" y="0"/>
                </a:lnTo>
                <a:lnTo>
                  <a:pt x="123" y="33"/>
                </a:lnTo>
                <a:lnTo>
                  <a:pt x="142" y="15"/>
                </a:lnTo>
                <a:lnTo>
                  <a:pt x="160" y="33"/>
                </a:lnTo>
                <a:lnTo>
                  <a:pt x="160" y="48"/>
                </a:lnTo>
                <a:lnTo>
                  <a:pt x="160" y="111"/>
                </a:lnTo>
                <a:lnTo>
                  <a:pt x="106" y="111"/>
                </a:lnTo>
                <a:lnTo>
                  <a:pt x="89" y="128"/>
                </a:lnTo>
                <a:lnTo>
                  <a:pt x="89" y="144"/>
                </a:lnTo>
                <a:lnTo>
                  <a:pt x="71" y="144"/>
                </a:lnTo>
                <a:lnTo>
                  <a:pt x="71" y="159"/>
                </a:lnTo>
                <a:lnTo>
                  <a:pt x="35" y="128"/>
                </a:lnTo>
                <a:lnTo>
                  <a:pt x="0" y="81"/>
                </a:lnTo>
                <a:lnTo>
                  <a:pt x="18" y="63"/>
                </a:lnTo>
                <a:lnTo>
                  <a:pt x="18" y="48"/>
                </a:lnTo>
                <a:lnTo>
                  <a:pt x="35" y="33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7" name="Freeform 246"/>
          <p:cNvSpPr>
            <a:spLocks/>
          </p:cNvSpPr>
          <p:nvPr/>
        </p:nvSpPr>
        <p:spPr bwMode="auto">
          <a:xfrm>
            <a:off x="4732666" y="4058023"/>
            <a:ext cx="342263" cy="368591"/>
          </a:xfrm>
          <a:custGeom>
            <a:avLst/>
            <a:gdLst>
              <a:gd name="T0" fmla="*/ 27781 w 208"/>
              <a:gd name="T1" fmla="*/ 3161 h 225"/>
              <a:gd name="T2" fmla="*/ 27781 w 208"/>
              <a:gd name="T3" fmla="*/ 3161 h 225"/>
              <a:gd name="T4" fmla="*/ 27781 w 208"/>
              <a:gd name="T5" fmla="*/ 9483 h 225"/>
              <a:gd name="T6" fmla="*/ 10319 w 208"/>
              <a:gd name="T7" fmla="*/ 6322 h 225"/>
              <a:gd name="T8" fmla="*/ 10319 w 208"/>
              <a:gd name="T9" fmla="*/ 12644 h 225"/>
              <a:gd name="T10" fmla="*/ 14288 w 208"/>
              <a:gd name="T11" fmla="*/ 9483 h 225"/>
              <a:gd name="T12" fmla="*/ 17463 w 208"/>
              <a:gd name="T13" fmla="*/ 12644 h 225"/>
              <a:gd name="T14" fmla="*/ 17463 w 208"/>
              <a:gd name="T15" fmla="*/ 15804 h 225"/>
              <a:gd name="T16" fmla="*/ 17463 w 208"/>
              <a:gd name="T17" fmla="*/ 28448 h 225"/>
              <a:gd name="T18" fmla="*/ 7144 w 208"/>
              <a:gd name="T19" fmla="*/ 28448 h 225"/>
              <a:gd name="T20" fmla="*/ 3969 w 208"/>
              <a:gd name="T21" fmla="*/ 31609 h 225"/>
              <a:gd name="T22" fmla="*/ 3969 w 208"/>
              <a:gd name="T23" fmla="*/ 34770 h 225"/>
              <a:gd name="T24" fmla="*/ 0 w 208"/>
              <a:gd name="T25" fmla="*/ 34770 h 225"/>
              <a:gd name="T26" fmla="*/ 0 w 208"/>
              <a:gd name="T27" fmla="*/ 37931 h 225"/>
              <a:gd name="T28" fmla="*/ 7144 w 208"/>
              <a:gd name="T29" fmla="*/ 44252 h 225"/>
              <a:gd name="T30" fmla="*/ 7144 w 208"/>
              <a:gd name="T31" fmla="*/ 41092 h 225"/>
              <a:gd name="T32" fmla="*/ 10319 w 208"/>
              <a:gd name="T33" fmla="*/ 41092 h 225"/>
              <a:gd name="T34" fmla="*/ 17463 w 208"/>
              <a:gd name="T35" fmla="*/ 41092 h 225"/>
              <a:gd name="T36" fmla="*/ 23812 w 208"/>
              <a:gd name="T37" fmla="*/ 37931 h 225"/>
              <a:gd name="T38" fmla="*/ 27781 w 208"/>
              <a:gd name="T39" fmla="*/ 28448 h 225"/>
              <a:gd name="T40" fmla="*/ 34925 w 208"/>
              <a:gd name="T41" fmla="*/ 22126 h 225"/>
              <a:gd name="T42" fmla="*/ 41275 w 208"/>
              <a:gd name="T43" fmla="*/ 0 h 225"/>
              <a:gd name="T44" fmla="*/ 30956 w 208"/>
              <a:gd name="T45" fmla="*/ 3161 h 225"/>
              <a:gd name="T46" fmla="*/ 27781 w 208"/>
              <a:gd name="T47" fmla="*/ 3161 h 22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08"/>
              <a:gd name="T73" fmla="*/ 0 h 225"/>
              <a:gd name="T74" fmla="*/ 208 w 208"/>
              <a:gd name="T75" fmla="*/ 225 h 22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08" h="225">
                <a:moveTo>
                  <a:pt x="139" y="18"/>
                </a:moveTo>
                <a:lnTo>
                  <a:pt x="139" y="18"/>
                </a:lnTo>
                <a:lnTo>
                  <a:pt x="139" y="48"/>
                </a:lnTo>
                <a:lnTo>
                  <a:pt x="52" y="33"/>
                </a:lnTo>
                <a:lnTo>
                  <a:pt x="52" y="66"/>
                </a:lnTo>
                <a:lnTo>
                  <a:pt x="70" y="48"/>
                </a:lnTo>
                <a:lnTo>
                  <a:pt x="87" y="66"/>
                </a:lnTo>
                <a:lnTo>
                  <a:pt x="87" y="81"/>
                </a:lnTo>
                <a:lnTo>
                  <a:pt x="87" y="144"/>
                </a:lnTo>
                <a:lnTo>
                  <a:pt x="35" y="144"/>
                </a:lnTo>
                <a:lnTo>
                  <a:pt x="18" y="161"/>
                </a:lnTo>
                <a:lnTo>
                  <a:pt x="18" y="177"/>
                </a:lnTo>
                <a:lnTo>
                  <a:pt x="0" y="177"/>
                </a:lnTo>
                <a:lnTo>
                  <a:pt x="0" y="192"/>
                </a:lnTo>
                <a:lnTo>
                  <a:pt x="35" y="225"/>
                </a:lnTo>
                <a:lnTo>
                  <a:pt x="35" y="209"/>
                </a:lnTo>
                <a:lnTo>
                  <a:pt x="52" y="209"/>
                </a:lnTo>
                <a:lnTo>
                  <a:pt x="87" y="209"/>
                </a:lnTo>
                <a:lnTo>
                  <a:pt x="121" y="192"/>
                </a:lnTo>
                <a:lnTo>
                  <a:pt x="139" y="144"/>
                </a:lnTo>
                <a:lnTo>
                  <a:pt x="173" y="114"/>
                </a:lnTo>
                <a:lnTo>
                  <a:pt x="208" y="0"/>
                </a:lnTo>
                <a:lnTo>
                  <a:pt x="156" y="18"/>
                </a:lnTo>
                <a:lnTo>
                  <a:pt x="139" y="18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8" name="Freeform 247"/>
          <p:cNvSpPr>
            <a:spLocks/>
          </p:cNvSpPr>
          <p:nvPr/>
        </p:nvSpPr>
        <p:spPr bwMode="auto">
          <a:xfrm>
            <a:off x="5216443" y="4558254"/>
            <a:ext cx="543016" cy="394919"/>
          </a:xfrm>
          <a:custGeom>
            <a:avLst/>
            <a:gdLst>
              <a:gd name="T0" fmla="*/ 10319 w 330"/>
              <a:gd name="T1" fmla="*/ 12700 h 240"/>
              <a:gd name="T2" fmla="*/ 10319 w 330"/>
              <a:gd name="T3" fmla="*/ 12700 h 240"/>
              <a:gd name="T4" fmla="*/ 23813 w 330"/>
              <a:gd name="T5" fmla="*/ 19050 h 240"/>
              <a:gd name="T6" fmla="*/ 27781 w 330"/>
              <a:gd name="T7" fmla="*/ 15875 h 240"/>
              <a:gd name="T8" fmla="*/ 38100 w 330"/>
              <a:gd name="T9" fmla="*/ 22225 h 240"/>
              <a:gd name="T10" fmla="*/ 41275 w 330"/>
              <a:gd name="T11" fmla="*/ 24606 h 240"/>
              <a:gd name="T12" fmla="*/ 41275 w 330"/>
              <a:gd name="T13" fmla="*/ 19050 h 240"/>
              <a:gd name="T14" fmla="*/ 38100 w 330"/>
              <a:gd name="T15" fmla="*/ 19050 h 240"/>
              <a:gd name="T16" fmla="*/ 38100 w 330"/>
              <a:gd name="T17" fmla="*/ 15875 h 240"/>
              <a:gd name="T18" fmla="*/ 38100 w 330"/>
              <a:gd name="T19" fmla="*/ 3175 h 240"/>
              <a:gd name="T20" fmla="*/ 38100 w 330"/>
              <a:gd name="T21" fmla="*/ 0 h 240"/>
              <a:gd name="T22" fmla="*/ 48419 w 330"/>
              <a:gd name="T23" fmla="*/ 0 h 240"/>
              <a:gd name="T24" fmla="*/ 52388 w 330"/>
              <a:gd name="T25" fmla="*/ 0 h 240"/>
              <a:gd name="T26" fmla="*/ 62706 w 330"/>
              <a:gd name="T27" fmla="*/ 6350 h 240"/>
              <a:gd name="T28" fmla="*/ 65881 w 330"/>
              <a:gd name="T29" fmla="*/ 12700 h 240"/>
              <a:gd name="T30" fmla="*/ 62706 w 330"/>
              <a:gd name="T31" fmla="*/ 15875 h 240"/>
              <a:gd name="T32" fmla="*/ 62706 w 330"/>
              <a:gd name="T33" fmla="*/ 19050 h 240"/>
              <a:gd name="T34" fmla="*/ 58738 w 330"/>
              <a:gd name="T35" fmla="*/ 24606 h 240"/>
              <a:gd name="T36" fmla="*/ 62706 w 330"/>
              <a:gd name="T37" fmla="*/ 28575 h 240"/>
              <a:gd name="T38" fmla="*/ 44450 w 330"/>
              <a:gd name="T39" fmla="*/ 34925 h 240"/>
              <a:gd name="T40" fmla="*/ 44450 w 330"/>
              <a:gd name="T41" fmla="*/ 38100 h 240"/>
              <a:gd name="T42" fmla="*/ 38100 w 330"/>
              <a:gd name="T43" fmla="*/ 38100 h 240"/>
              <a:gd name="T44" fmla="*/ 38100 w 330"/>
              <a:gd name="T45" fmla="*/ 41275 h 240"/>
              <a:gd name="T46" fmla="*/ 27781 w 330"/>
              <a:gd name="T47" fmla="*/ 47625 h 240"/>
              <a:gd name="T48" fmla="*/ 17463 w 330"/>
              <a:gd name="T49" fmla="*/ 47625 h 240"/>
              <a:gd name="T50" fmla="*/ 10319 w 330"/>
              <a:gd name="T51" fmla="*/ 44450 h 240"/>
              <a:gd name="T52" fmla="*/ 7144 w 330"/>
              <a:gd name="T53" fmla="*/ 47625 h 240"/>
              <a:gd name="T54" fmla="*/ 0 w 330"/>
              <a:gd name="T55" fmla="*/ 41275 h 240"/>
              <a:gd name="T56" fmla="*/ 0 w 330"/>
              <a:gd name="T57" fmla="*/ 24606 h 240"/>
              <a:gd name="T58" fmla="*/ 14288 w 330"/>
              <a:gd name="T59" fmla="*/ 22225 h 240"/>
              <a:gd name="T60" fmla="*/ 10319 w 330"/>
              <a:gd name="T61" fmla="*/ 12700 h 24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330"/>
              <a:gd name="T94" fmla="*/ 0 h 240"/>
              <a:gd name="T95" fmla="*/ 330 w 330"/>
              <a:gd name="T96" fmla="*/ 240 h 24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330" h="240">
                <a:moveTo>
                  <a:pt x="52" y="64"/>
                </a:moveTo>
                <a:lnTo>
                  <a:pt x="52" y="64"/>
                </a:lnTo>
                <a:lnTo>
                  <a:pt x="123" y="96"/>
                </a:lnTo>
                <a:lnTo>
                  <a:pt x="140" y="79"/>
                </a:lnTo>
                <a:lnTo>
                  <a:pt x="192" y="112"/>
                </a:lnTo>
                <a:lnTo>
                  <a:pt x="209" y="127"/>
                </a:lnTo>
                <a:lnTo>
                  <a:pt x="209" y="96"/>
                </a:lnTo>
                <a:lnTo>
                  <a:pt x="192" y="96"/>
                </a:lnTo>
                <a:lnTo>
                  <a:pt x="192" y="79"/>
                </a:lnTo>
                <a:lnTo>
                  <a:pt x="192" y="16"/>
                </a:lnTo>
                <a:lnTo>
                  <a:pt x="192" y="0"/>
                </a:lnTo>
                <a:lnTo>
                  <a:pt x="244" y="0"/>
                </a:lnTo>
                <a:lnTo>
                  <a:pt x="261" y="0"/>
                </a:lnTo>
                <a:lnTo>
                  <a:pt x="313" y="31"/>
                </a:lnTo>
                <a:lnTo>
                  <a:pt x="330" y="64"/>
                </a:lnTo>
                <a:lnTo>
                  <a:pt x="313" y="79"/>
                </a:lnTo>
                <a:lnTo>
                  <a:pt x="313" y="96"/>
                </a:lnTo>
                <a:lnTo>
                  <a:pt x="296" y="127"/>
                </a:lnTo>
                <a:lnTo>
                  <a:pt x="313" y="144"/>
                </a:lnTo>
                <a:lnTo>
                  <a:pt x="227" y="175"/>
                </a:lnTo>
                <a:lnTo>
                  <a:pt x="227" y="192"/>
                </a:lnTo>
                <a:lnTo>
                  <a:pt x="192" y="192"/>
                </a:lnTo>
                <a:lnTo>
                  <a:pt x="192" y="208"/>
                </a:lnTo>
                <a:lnTo>
                  <a:pt x="140" y="240"/>
                </a:lnTo>
                <a:lnTo>
                  <a:pt x="88" y="240"/>
                </a:lnTo>
                <a:lnTo>
                  <a:pt x="52" y="223"/>
                </a:lnTo>
                <a:lnTo>
                  <a:pt x="35" y="240"/>
                </a:lnTo>
                <a:lnTo>
                  <a:pt x="0" y="208"/>
                </a:lnTo>
                <a:lnTo>
                  <a:pt x="0" y="127"/>
                </a:lnTo>
                <a:lnTo>
                  <a:pt x="69" y="112"/>
                </a:lnTo>
                <a:lnTo>
                  <a:pt x="52" y="64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9" name="Freeform 248"/>
          <p:cNvSpPr>
            <a:spLocks/>
          </p:cNvSpPr>
          <p:nvPr/>
        </p:nvSpPr>
        <p:spPr bwMode="auto">
          <a:xfrm>
            <a:off x="4765575" y="4452941"/>
            <a:ext cx="569344" cy="526560"/>
          </a:xfrm>
          <a:custGeom>
            <a:avLst/>
            <a:gdLst>
              <a:gd name="T0" fmla="*/ 0 w 345"/>
              <a:gd name="T1" fmla="*/ 56972 h 321"/>
              <a:gd name="T2" fmla="*/ 0 w 345"/>
              <a:gd name="T3" fmla="*/ 56972 h 321"/>
              <a:gd name="T4" fmla="*/ 7164 w 345"/>
              <a:gd name="T5" fmla="*/ 56972 h 321"/>
              <a:gd name="T6" fmla="*/ 14329 w 345"/>
              <a:gd name="T7" fmla="*/ 56972 h 321"/>
              <a:gd name="T8" fmla="*/ 34230 w 345"/>
              <a:gd name="T9" fmla="*/ 60137 h 321"/>
              <a:gd name="T10" fmla="*/ 41395 w 345"/>
              <a:gd name="T11" fmla="*/ 60137 h 321"/>
              <a:gd name="T12" fmla="*/ 54928 w 345"/>
              <a:gd name="T13" fmla="*/ 63302 h 321"/>
              <a:gd name="T14" fmla="*/ 62092 w 345"/>
              <a:gd name="T15" fmla="*/ 60137 h 321"/>
              <a:gd name="T16" fmla="*/ 54928 w 345"/>
              <a:gd name="T17" fmla="*/ 53807 h 321"/>
              <a:gd name="T18" fmla="*/ 54928 w 345"/>
              <a:gd name="T19" fmla="*/ 37981 h 321"/>
              <a:gd name="T20" fmla="*/ 69257 w 345"/>
              <a:gd name="T21" fmla="*/ 34816 h 321"/>
              <a:gd name="T22" fmla="*/ 65276 w 345"/>
              <a:gd name="T23" fmla="*/ 25321 h 321"/>
              <a:gd name="T24" fmla="*/ 54928 w 345"/>
              <a:gd name="T25" fmla="*/ 28486 h 321"/>
              <a:gd name="T26" fmla="*/ 54928 w 345"/>
              <a:gd name="T27" fmla="*/ 25321 h 321"/>
              <a:gd name="T28" fmla="*/ 58908 w 345"/>
              <a:gd name="T29" fmla="*/ 22156 h 321"/>
              <a:gd name="T30" fmla="*/ 54928 w 345"/>
              <a:gd name="T31" fmla="*/ 18991 h 321"/>
              <a:gd name="T32" fmla="*/ 54928 w 345"/>
              <a:gd name="T33" fmla="*/ 9495 h 321"/>
              <a:gd name="T34" fmla="*/ 48559 w 345"/>
              <a:gd name="T35" fmla="*/ 6330 h 321"/>
              <a:gd name="T36" fmla="*/ 41395 w 345"/>
              <a:gd name="T37" fmla="*/ 6330 h 321"/>
              <a:gd name="T38" fmla="*/ 41395 w 345"/>
              <a:gd name="T39" fmla="*/ 9495 h 321"/>
              <a:gd name="T40" fmla="*/ 34230 w 345"/>
              <a:gd name="T41" fmla="*/ 12660 h 321"/>
              <a:gd name="T42" fmla="*/ 27862 w 345"/>
              <a:gd name="T43" fmla="*/ 6330 h 321"/>
              <a:gd name="T44" fmla="*/ 27862 w 345"/>
              <a:gd name="T45" fmla="*/ 0 h 321"/>
              <a:gd name="T46" fmla="*/ 24678 w 345"/>
              <a:gd name="T47" fmla="*/ 0 h 321"/>
              <a:gd name="T48" fmla="*/ 10349 w 345"/>
              <a:gd name="T49" fmla="*/ 0 h 321"/>
              <a:gd name="T50" fmla="*/ 3980 w 345"/>
              <a:gd name="T51" fmla="*/ 3165 h 321"/>
              <a:gd name="T52" fmla="*/ 7164 w 345"/>
              <a:gd name="T53" fmla="*/ 12660 h 321"/>
              <a:gd name="T54" fmla="*/ 7164 w 345"/>
              <a:gd name="T55" fmla="*/ 15826 h 321"/>
              <a:gd name="T56" fmla="*/ 10349 w 345"/>
              <a:gd name="T57" fmla="*/ 28486 h 321"/>
              <a:gd name="T58" fmla="*/ 10349 w 345"/>
              <a:gd name="T59" fmla="*/ 34816 h 321"/>
              <a:gd name="T60" fmla="*/ 3980 w 345"/>
              <a:gd name="T61" fmla="*/ 37981 h 321"/>
              <a:gd name="T62" fmla="*/ 0 w 345"/>
              <a:gd name="T63" fmla="*/ 50642 h 321"/>
              <a:gd name="T64" fmla="*/ 0 w 345"/>
              <a:gd name="T65" fmla="*/ 56972 h 3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45"/>
              <a:gd name="T100" fmla="*/ 0 h 321"/>
              <a:gd name="T101" fmla="*/ 345 w 345"/>
              <a:gd name="T102" fmla="*/ 321 h 3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45" h="321">
                <a:moveTo>
                  <a:pt x="0" y="288"/>
                </a:moveTo>
                <a:lnTo>
                  <a:pt x="0" y="288"/>
                </a:lnTo>
                <a:lnTo>
                  <a:pt x="34" y="288"/>
                </a:lnTo>
                <a:lnTo>
                  <a:pt x="69" y="288"/>
                </a:lnTo>
                <a:lnTo>
                  <a:pt x="172" y="305"/>
                </a:lnTo>
                <a:lnTo>
                  <a:pt x="207" y="305"/>
                </a:lnTo>
                <a:lnTo>
                  <a:pt x="276" y="321"/>
                </a:lnTo>
                <a:lnTo>
                  <a:pt x="311" y="305"/>
                </a:lnTo>
                <a:lnTo>
                  <a:pt x="276" y="273"/>
                </a:lnTo>
                <a:lnTo>
                  <a:pt x="276" y="192"/>
                </a:lnTo>
                <a:lnTo>
                  <a:pt x="345" y="177"/>
                </a:lnTo>
                <a:lnTo>
                  <a:pt x="328" y="129"/>
                </a:lnTo>
                <a:lnTo>
                  <a:pt x="276" y="144"/>
                </a:lnTo>
                <a:lnTo>
                  <a:pt x="276" y="129"/>
                </a:lnTo>
                <a:lnTo>
                  <a:pt x="293" y="113"/>
                </a:lnTo>
                <a:lnTo>
                  <a:pt x="276" y="96"/>
                </a:lnTo>
                <a:lnTo>
                  <a:pt x="276" y="48"/>
                </a:lnTo>
                <a:lnTo>
                  <a:pt x="241" y="33"/>
                </a:lnTo>
                <a:lnTo>
                  <a:pt x="207" y="33"/>
                </a:lnTo>
                <a:lnTo>
                  <a:pt x="207" y="48"/>
                </a:lnTo>
                <a:lnTo>
                  <a:pt x="172" y="65"/>
                </a:lnTo>
                <a:lnTo>
                  <a:pt x="138" y="33"/>
                </a:lnTo>
                <a:lnTo>
                  <a:pt x="138" y="0"/>
                </a:lnTo>
                <a:lnTo>
                  <a:pt x="121" y="0"/>
                </a:lnTo>
                <a:lnTo>
                  <a:pt x="51" y="0"/>
                </a:lnTo>
                <a:lnTo>
                  <a:pt x="17" y="17"/>
                </a:lnTo>
                <a:lnTo>
                  <a:pt x="34" y="65"/>
                </a:lnTo>
                <a:lnTo>
                  <a:pt x="34" y="81"/>
                </a:lnTo>
                <a:lnTo>
                  <a:pt x="51" y="144"/>
                </a:lnTo>
                <a:lnTo>
                  <a:pt x="51" y="177"/>
                </a:lnTo>
                <a:lnTo>
                  <a:pt x="17" y="192"/>
                </a:lnTo>
                <a:lnTo>
                  <a:pt x="0" y="257"/>
                </a:lnTo>
                <a:lnTo>
                  <a:pt x="0" y="288"/>
                </a:lnTo>
                <a:close/>
              </a:path>
            </a:pathLst>
          </a:custGeom>
          <a:solidFill>
            <a:srgbClr val="5BAD8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0" name="Freeform 249"/>
          <p:cNvSpPr>
            <a:spLocks/>
          </p:cNvSpPr>
          <p:nvPr/>
        </p:nvSpPr>
        <p:spPr bwMode="auto">
          <a:xfrm>
            <a:off x="4643812" y="2767953"/>
            <a:ext cx="717437" cy="631871"/>
          </a:xfrm>
          <a:custGeom>
            <a:avLst/>
            <a:gdLst>
              <a:gd name="T0" fmla="*/ 14320 w 435"/>
              <a:gd name="T1" fmla="*/ 54769 h 384"/>
              <a:gd name="T2" fmla="*/ 14320 w 435"/>
              <a:gd name="T3" fmla="*/ 54769 h 384"/>
              <a:gd name="T4" fmla="*/ 10342 w 435"/>
              <a:gd name="T5" fmla="*/ 47625 h 384"/>
              <a:gd name="T6" fmla="*/ 7160 w 435"/>
              <a:gd name="T7" fmla="*/ 47625 h 384"/>
              <a:gd name="T8" fmla="*/ 0 w 435"/>
              <a:gd name="T9" fmla="*/ 38100 h 384"/>
              <a:gd name="T10" fmla="*/ 3978 w 435"/>
              <a:gd name="T11" fmla="*/ 35719 h 384"/>
              <a:gd name="T12" fmla="*/ 3978 w 435"/>
              <a:gd name="T13" fmla="*/ 28575 h 384"/>
              <a:gd name="T14" fmla="*/ 3978 w 435"/>
              <a:gd name="T15" fmla="*/ 22225 h 384"/>
              <a:gd name="T16" fmla="*/ 0 w 435"/>
              <a:gd name="T17" fmla="*/ 19050 h 384"/>
              <a:gd name="T18" fmla="*/ 0 w 435"/>
              <a:gd name="T19" fmla="*/ 16669 h 384"/>
              <a:gd name="T20" fmla="*/ 3978 w 435"/>
              <a:gd name="T21" fmla="*/ 12700 h 384"/>
              <a:gd name="T22" fmla="*/ 3978 w 435"/>
              <a:gd name="T23" fmla="*/ 9525 h 384"/>
              <a:gd name="T24" fmla="*/ 10342 w 435"/>
              <a:gd name="T25" fmla="*/ 3175 h 384"/>
              <a:gd name="T26" fmla="*/ 10342 w 435"/>
              <a:gd name="T27" fmla="*/ 0 h 384"/>
              <a:gd name="T28" fmla="*/ 17503 w 435"/>
              <a:gd name="T29" fmla="*/ 0 h 384"/>
              <a:gd name="T30" fmla="*/ 27845 w 435"/>
              <a:gd name="T31" fmla="*/ 3175 h 384"/>
              <a:gd name="T32" fmla="*/ 35005 w 435"/>
              <a:gd name="T33" fmla="*/ 3175 h 384"/>
              <a:gd name="T34" fmla="*/ 35005 w 435"/>
              <a:gd name="T35" fmla="*/ 9525 h 384"/>
              <a:gd name="T36" fmla="*/ 55690 w 435"/>
              <a:gd name="T37" fmla="*/ 16669 h 384"/>
              <a:gd name="T38" fmla="*/ 58873 w 435"/>
              <a:gd name="T39" fmla="*/ 12700 h 384"/>
              <a:gd name="T40" fmla="*/ 58873 w 435"/>
              <a:gd name="T41" fmla="*/ 7144 h 384"/>
              <a:gd name="T42" fmla="*/ 70011 w 435"/>
              <a:gd name="T43" fmla="*/ 0 h 384"/>
              <a:gd name="T44" fmla="*/ 76375 w 435"/>
              <a:gd name="T45" fmla="*/ 3175 h 384"/>
              <a:gd name="T46" fmla="*/ 76375 w 435"/>
              <a:gd name="T47" fmla="*/ 7144 h 384"/>
              <a:gd name="T48" fmla="*/ 86718 w 435"/>
              <a:gd name="T49" fmla="*/ 7144 h 384"/>
              <a:gd name="T50" fmla="*/ 83535 w 435"/>
              <a:gd name="T51" fmla="*/ 19050 h 384"/>
              <a:gd name="T52" fmla="*/ 86718 w 435"/>
              <a:gd name="T53" fmla="*/ 26194 h 384"/>
              <a:gd name="T54" fmla="*/ 86718 w 435"/>
              <a:gd name="T55" fmla="*/ 60325 h 384"/>
              <a:gd name="T56" fmla="*/ 86718 w 435"/>
              <a:gd name="T57" fmla="*/ 69850 h 384"/>
              <a:gd name="T58" fmla="*/ 83535 w 435"/>
              <a:gd name="T59" fmla="*/ 73819 h 384"/>
              <a:gd name="T60" fmla="*/ 80353 w 435"/>
              <a:gd name="T61" fmla="*/ 76200 h 384"/>
              <a:gd name="T62" fmla="*/ 38188 w 435"/>
              <a:gd name="T63" fmla="*/ 54769 h 384"/>
              <a:gd name="T64" fmla="*/ 31823 w 435"/>
              <a:gd name="T65" fmla="*/ 57150 h 384"/>
              <a:gd name="T66" fmla="*/ 27845 w 435"/>
              <a:gd name="T67" fmla="*/ 54769 h 384"/>
              <a:gd name="T68" fmla="*/ 14320 w 435"/>
              <a:gd name="T69" fmla="*/ 54769 h 38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35"/>
              <a:gd name="T106" fmla="*/ 0 h 384"/>
              <a:gd name="T107" fmla="*/ 435 w 435"/>
              <a:gd name="T108" fmla="*/ 384 h 38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35" h="384">
                <a:moveTo>
                  <a:pt x="69" y="273"/>
                </a:moveTo>
                <a:lnTo>
                  <a:pt x="69" y="273"/>
                </a:lnTo>
                <a:lnTo>
                  <a:pt x="51" y="240"/>
                </a:lnTo>
                <a:lnTo>
                  <a:pt x="34" y="240"/>
                </a:lnTo>
                <a:lnTo>
                  <a:pt x="0" y="192"/>
                </a:lnTo>
                <a:lnTo>
                  <a:pt x="17" y="177"/>
                </a:lnTo>
                <a:lnTo>
                  <a:pt x="17" y="144"/>
                </a:lnTo>
                <a:lnTo>
                  <a:pt x="17" y="112"/>
                </a:lnTo>
                <a:lnTo>
                  <a:pt x="0" y="96"/>
                </a:lnTo>
                <a:lnTo>
                  <a:pt x="0" y="81"/>
                </a:lnTo>
                <a:lnTo>
                  <a:pt x="17" y="64"/>
                </a:lnTo>
                <a:lnTo>
                  <a:pt x="17" y="48"/>
                </a:lnTo>
                <a:lnTo>
                  <a:pt x="51" y="16"/>
                </a:lnTo>
                <a:lnTo>
                  <a:pt x="51" y="0"/>
                </a:lnTo>
                <a:lnTo>
                  <a:pt x="86" y="0"/>
                </a:lnTo>
                <a:lnTo>
                  <a:pt x="140" y="16"/>
                </a:lnTo>
                <a:lnTo>
                  <a:pt x="174" y="16"/>
                </a:lnTo>
                <a:lnTo>
                  <a:pt x="174" y="48"/>
                </a:lnTo>
                <a:lnTo>
                  <a:pt x="278" y="81"/>
                </a:lnTo>
                <a:lnTo>
                  <a:pt x="295" y="64"/>
                </a:lnTo>
                <a:lnTo>
                  <a:pt x="295" y="33"/>
                </a:lnTo>
                <a:lnTo>
                  <a:pt x="349" y="0"/>
                </a:lnTo>
                <a:lnTo>
                  <a:pt x="384" y="16"/>
                </a:lnTo>
                <a:lnTo>
                  <a:pt x="384" y="33"/>
                </a:lnTo>
                <a:lnTo>
                  <a:pt x="435" y="33"/>
                </a:lnTo>
                <a:lnTo>
                  <a:pt x="418" y="96"/>
                </a:lnTo>
                <a:lnTo>
                  <a:pt x="435" y="129"/>
                </a:lnTo>
                <a:lnTo>
                  <a:pt x="435" y="304"/>
                </a:lnTo>
                <a:lnTo>
                  <a:pt x="435" y="352"/>
                </a:lnTo>
                <a:lnTo>
                  <a:pt x="418" y="369"/>
                </a:lnTo>
                <a:lnTo>
                  <a:pt x="401" y="384"/>
                </a:lnTo>
                <a:lnTo>
                  <a:pt x="192" y="273"/>
                </a:lnTo>
                <a:lnTo>
                  <a:pt x="157" y="288"/>
                </a:lnTo>
                <a:lnTo>
                  <a:pt x="140" y="273"/>
                </a:lnTo>
                <a:lnTo>
                  <a:pt x="69" y="273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1" name="Freeform 250"/>
          <p:cNvSpPr>
            <a:spLocks/>
          </p:cNvSpPr>
          <p:nvPr/>
        </p:nvSpPr>
        <p:spPr bwMode="auto">
          <a:xfrm>
            <a:off x="5334918" y="2823901"/>
            <a:ext cx="510106" cy="470613"/>
          </a:xfrm>
          <a:custGeom>
            <a:avLst/>
            <a:gdLst>
              <a:gd name="T0" fmla="*/ 60922 w 311"/>
              <a:gd name="T1" fmla="*/ 49659 h 288"/>
              <a:gd name="T2" fmla="*/ 60922 w 311"/>
              <a:gd name="T3" fmla="*/ 49659 h 288"/>
              <a:gd name="T4" fmla="*/ 50637 w 311"/>
              <a:gd name="T5" fmla="*/ 55965 h 288"/>
              <a:gd name="T6" fmla="*/ 47472 w 311"/>
              <a:gd name="T7" fmla="*/ 52812 h 288"/>
              <a:gd name="T8" fmla="*/ 3165 w 311"/>
              <a:gd name="T9" fmla="*/ 52812 h 288"/>
              <a:gd name="T10" fmla="*/ 3165 w 311"/>
              <a:gd name="T11" fmla="*/ 18918 h 288"/>
              <a:gd name="T12" fmla="*/ 0 w 311"/>
              <a:gd name="T13" fmla="*/ 11824 h 288"/>
              <a:gd name="T14" fmla="*/ 3165 w 311"/>
              <a:gd name="T15" fmla="*/ 0 h 288"/>
              <a:gd name="T16" fmla="*/ 3165 w 311"/>
              <a:gd name="T17" fmla="*/ 2365 h 288"/>
              <a:gd name="T18" fmla="*/ 13450 w 311"/>
              <a:gd name="T19" fmla="*/ 2365 h 288"/>
              <a:gd name="T20" fmla="*/ 23736 w 311"/>
              <a:gd name="T21" fmla="*/ 5518 h 288"/>
              <a:gd name="T22" fmla="*/ 37186 w 311"/>
              <a:gd name="T23" fmla="*/ 2365 h 288"/>
              <a:gd name="T24" fmla="*/ 40351 w 311"/>
              <a:gd name="T25" fmla="*/ 2365 h 288"/>
              <a:gd name="T26" fmla="*/ 40351 w 311"/>
              <a:gd name="T27" fmla="*/ 5518 h 288"/>
              <a:gd name="T28" fmla="*/ 44307 w 311"/>
              <a:gd name="T29" fmla="*/ 2365 h 288"/>
              <a:gd name="T30" fmla="*/ 44307 w 311"/>
              <a:gd name="T31" fmla="*/ 5518 h 288"/>
              <a:gd name="T32" fmla="*/ 50637 w 311"/>
              <a:gd name="T33" fmla="*/ 2365 h 288"/>
              <a:gd name="T34" fmla="*/ 54593 w 311"/>
              <a:gd name="T35" fmla="*/ 14977 h 288"/>
              <a:gd name="T36" fmla="*/ 50637 w 311"/>
              <a:gd name="T37" fmla="*/ 24435 h 288"/>
              <a:gd name="T38" fmla="*/ 47472 w 311"/>
              <a:gd name="T39" fmla="*/ 18918 h 288"/>
              <a:gd name="T40" fmla="*/ 44307 w 311"/>
              <a:gd name="T41" fmla="*/ 9459 h 288"/>
              <a:gd name="T42" fmla="*/ 44307 w 311"/>
              <a:gd name="T43" fmla="*/ 11824 h 288"/>
              <a:gd name="T44" fmla="*/ 44307 w 311"/>
              <a:gd name="T45" fmla="*/ 14977 h 288"/>
              <a:gd name="T46" fmla="*/ 60922 w 311"/>
              <a:gd name="T47" fmla="*/ 49659 h 28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11"/>
              <a:gd name="T73" fmla="*/ 0 h 288"/>
              <a:gd name="T74" fmla="*/ 311 w 311"/>
              <a:gd name="T75" fmla="*/ 288 h 28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11" h="288">
                <a:moveTo>
                  <a:pt x="311" y="255"/>
                </a:moveTo>
                <a:lnTo>
                  <a:pt x="311" y="255"/>
                </a:lnTo>
                <a:lnTo>
                  <a:pt x="259" y="288"/>
                </a:lnTo>
                <a:lnTo>
                  <a:pt x="242" y="271"/>
                </a:lnTo>
                <a:lnTo>
                  <a:pt x="17" y="271"/>
                </a:lnTo>
                <a:lnTo>
                  <a:pt x="17" y="96"/>
                </a:lnTo>
                <a:lnTo>
                  <a:pt x="0" y="63"/>
                </a:lnTo>
                <a:lnTo>
                  <a:pt x="17" y="0"/>
                </a:lnTo>
                <a:lnTo>
                  <a:pt x="17" y="15"/>
                </a:lnTo>
                <a:lnTo>
                  <a:pt x="69" y="15"/>
                </a:lnTo>
                <a:lnTo>
                  <a:pt x="121" y="31"/>
                </a:lnTo>
                <a:lnTo>
                  <a:pt x="190" y="15"/>
                </a:lnTo>
                <a:lnTo>
                  <a:pt x="207" y="15"/>
                </a:lnTo>
                <a:lnTo>
                  <a:pt x="207" y="31"/>
                </a:lnTo>
                <a:lnTo>
                  <a:pt x="225" y="15"/>
                </a:lnTo>
                <a:lnTo>
                  <a:pt x="225" y="31"/>
                </a:lnTo>
                <a:lnTo>
                  <a:pt x="259" y="15"/>
                </a:lnTo>
                <a:lnTo>
                  <a:pt x="277" y="79"/>
                </a:lnTo>
                <a:lnTo>
                  <a:pt x="259" y="127"/>
                </a:lnTo>
                <a:lnTo>
                  <a:pt x="242" y="96"/>
                </a:lnTo>
                <a:lnTo>
                  <a:pt x="225" y="48"/>
                </a:lnTo>
                <a:lnTo>
                  <a:pt x="225" y="63"/>
                </a:lnTo>
                <a:lnTo>
                  <a:pt x="225" y="79"/>
                </a:lnTo>
                <a:lnTo>
                  <a:pt x="311" y="255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2" name="Freeform 251"/>
          <p:cNvSpPr>
            <a:spLocks/>
          </p:cNvSpPr>
          <p:nvPr/>
        </p:nvSpPr>
        <p:spPr bwMode="auto">
          <a:xfrm>
            <a:off x="4874179" y="3742087"/>
            <a:ext cx="598962" cy="342263"/>
          </a:xfrm>
          <a:custGeom>
            <a:avLst/>
            <a:gdLst>
              <a:gd name="T0" fmla="*/ 44572 w 363"/>
              <a:gd name="T1" fmla="*/ 0 h 210"/>
              <a:gd name="T2" fmla="*/ 44572 w 363"/>
              <a:gd name="T3" fmla="*/ 0 h 210"/>
              <a:gd name="T4" fmla="*/ 51736 w 363"/>
              <a:gd name="T5" fmla="*/ 6290 h 210"/>
              <a:gd name="T6" fmla="*/ 51736 w 363"/>
              <a:gd name="T7" fmla="*/ 12579 h 210"/>
              <a:gd name="T8" fmla="*/ 58899 w 363"/>
              <a:gd name="T9" fmla="*/ 15724 h 210"/>
              <a:gd name="T10" fmla="*/ 72430 w 363"/>
              <a:gd name="T11" fmla="*/ 31448 h 210"/>
              <a:gd name="T12" fmla="*/ 48552 w 363"/>
              <a:gd name="T13" fmla="*/ 31448 h 210"/>
              <a:gd name="T14" fmla="*/ 44572 w 363"/>
              <a:gd name="T15" fmla="*/ 34592 h 210"/>
              <a:gd name="T16" fmla="*/ 35021 w 363"/>
              <a:gd name="T17" fmla="*/ 34592 h 210"/>
              <a:gd name="T18" fmla="*/ 31042 w 363"/>
              <a:gd name="T19" fmla="*/ 31448 h 210"/>
              <a:gd name="T20" fmla="*/ 27858 w 363"/>
              <a:gd name="T21" fmla="*/ 31448 h 210"/>
              <a:gd name="T22" fmla="*/ 24674 w 363"/>
              <a:gd name="T23" fmla="*/ 36951 h 210"/>
              <a:gd name="T24" fmla="*/ 14327 w 363"/>
              <a:gd name="T25" fmla="*/ 40882 h 210"/>
              <a:gd name="T26" fmla="*/ 10347 w 363"/>
              <a:gd name="T27" fmla="*/ 40882 h 210"/>
              <a:gd name="T28" fmla="*/ 3980 w 363"/>
              <a:gd name="T29" fmla="*/ 31448 h 210"/>
              <a:gd name="T30" fmla="*/ 0 w 363"/>
              <a:gd name="T31" fmla="*/ 27517 h 210"/>
              <a:gd name="T32" fmla="*/ 7163 w 363"/>
              <a:gd name="T33" fmla="*/ 18869 h 210"/>
              <a:gd name="T34" fmla="*/ 24674 w 363"/>
              <a:gd name="T35" fmla="*/ 15724 h 210"/>
              <a:gd name="T36" fmla="*/ 27858 w 363"/>
              <a:gd name="T37" fmla="*/ 12579 h 210"/>
              <a:gd name="T38" fmla="*/ 24674 w 363"/>
              <a:gd name="T39" fmla="*/ 12579 h 210"/>
              <a:gd name="T40" fmla="*/ 35021 w 363"/>
              <a:gd name="T41" fmla="*/ 9434 h 210"/>
              <a:gd name="T42" fmla="*/ 41389 w 363"/>
              <a:gd name="T43" fmla="*/ 3145 h 210"/>
              <a:gd name="T44" fmla="*/ 44572 w 363"/>
              <a:gd name="T45" fmla="*/ 0 h 21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63"/>
              <a:gd name="T70" fmla="*/ 0 h 210"/>
              <a:gd name="T71" fmla="*/ 363 w 363"/>
              <a:gd name="T72" fmla="*/ 210 h 21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63" h="210">
                <a:moveTo>
                  <a:pt x="224" y="0"/>
                </a:moveTo>
                <a:lnTo>
                  <a:pt x="224" y="0"/>
                </a:lnTo>
                <a:lnTo>
                  <a:pt x="259" y="33"/>
                </a:lnTo>
                <a:lnTo>
                  <a:pt x="259" y="66"/>
                </a:lnTo>
                <a:lnTo>
                  <a:pt x="294" y="81"/>
                </a:lnTo>
                <a:lnTo>
                  <a:pt x="363" y="162"/>
                </a:lnTo>
                <a:lnTo>
                  <a:pt x="242" y="162"/>
                </a:lnTo>
                <a:lnTo>
                  <a:pt x="224" y="177"/>
                </a:lnTo>
                <a:lnTo>
                  <a:pt x="173" y="177"/>
                </a:lnTo>
                <a:lnTo>
                  <a:pt x="155" y="162"/>
                </a:lnTo>
                <a:lnTo>
                  <a:pt x="138" y="162"/>
                </a:lnTo>
                <a:lnTo>
                  <a:pt x="121" y="192"/>
                </a:lnTo>
                <a:lnTo>
                  <a:pt x="69" y="210"/>
                </a:lnTo>
                <a:lnTo>
                  <a:pt x="52" y="210"/>
                </a:lnTo>
                <a:lnTo>
                  <a:pt x="17" y="162"/>
                </a:lnTo>
                <a:lnTo>
                  <a:pt x="0" y="144"/>
                </a:lnTo>
                <a:lnTo>
                  <a:pt x="34" y="96"/>
                </a:lnTo>
                <a:lnTo>
                  <a:pt x="121" y="81"/>
                </a:lnTo>
                <a:lnTo>
                  <a:pt x="138" y="66"/>
                </a:lnTo>
                <a:lnTo>
                  <a:pt x="121" y="66"/>
                </a:lnTo>
                <a:lnTo>
                  <a:pt x="173" y="48"/>
                </a:lnTo>
                <a:lnTo>
                  <a:pt x="207" y="18"/>
                </a:lnTo>
                <a:lnTo>
                  <a:pt x="224" y="0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3" name="Freeform 252"/>
          <p:cNvSpPr>
            <a:spLocks/>
          </p:cNvSpPr>
          <p:nvPr/>
        </p:nvSpPr>
        <p:spPr bwMode="auto">
          <a:xfrm>
            <a:off x="5877933" y="3452480"/>
            <a:ext cx="279735" cy="236951"/>
          </a:xfrm>
          <a:custGeom>
            <a:avLst/>
            <a:gdLst>
              <a:gd name="T0" fmla="*/ 29986 w 171"/>
              <a:gd name="T1" fmla="*/ 28575 h 144"/>
              <a:gd name="T2" fmla="*/ 29986 w 171"/>
              <a:gd name="T3" fmla="*/ 28575 h 144"/>
              <a:gd name="T4" fmla="*/ 33143 w 171"/>
              <a:gd name="T5" fmla="*/ 28575 h 144"/>
              <a:gd name="T6" fmla="*/ 22884 w 171"/>
              <a:gd name="T7" fmla="*/ 19050 h 144"/>
              <a:gd name="T8" fmla="*/ 16571 w 171"/>
              <a:gd name="T9" fmla="*/ 11906 h 144"/>
              <a:gd name="T10" fmla="*/ 10258 w 171"/>
              <a:gd name="T11" fmla="*/ 0 h 144"/>
              <a:gd name="T12" fmla="*/ 10258 w 171"/>
              <a:gd name="T13" fmla="*/ 2381 h 144"/>
              <a:gd name="T14" fmla="*/ 3156 w 171"/>
              <a:gd name="T15" fmla="*/ 5556 h 144"/>
              <a:gd name="T16" fmla="*/ 0 w 171"/>
              <a:gd name="T17" fmla="*/ 19050 h 144"/>
              <a:gd name="T18" fmla="*/ 3156 w 171"/>
              <a:gd name="T19" fmla="*/ 19050 h 144"/>
              <a:gd name="T20" fmla="*/ 6313 w 171"/>
              <a:gd name="T21" fmla="*/ 21431 h 144"/>
              <a:gd name="T22" fmla="*/ 6313 w 171"/>
              <a:gd name="T23" fmla="*/ 15081 h 144"/>
              <a:gd name="T24" fmla="*/ 10258 w 171"/>
              <a:gd name="T25" fmla="*/ 19050 h 144"/>
              <a:gd name="T26" fmla="*/ 19728 w 171"/>
              <a:gd name="T27" fmla="*/ 19050 h 144"/>
              <a:gd name="T28" fmla="*/ 29986 w 171"/>
              <a:gd name="T29" fmla="*/ 28575 h 1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71"/>
              <a:gd name="T46" fmla="*/ 0 h 144"/>
              <a:gd name="T47" fmla="*/ 171 w 171"/>
              <a:gd name="T48" fmla="*/ 144 h 1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71" h="144">
                <a:moveTo>
                  <a:pt x="154" y="144"/>
                </a:moveTo>
                <a:lnTo>
                  <a:pt x="154" y="144"/>
                </a:lnTo>
                <a:lnTo>
                  <a:pt x="171" y="144"/>
                </a:lnTo>
                <a:lnTo>
                  <a:pt x="119" y="96"/>
                </a:lnTo>
                <a:lnTo>
                  <a:pt x="85" y="63"/>
                </a:lnTo>
                <a:lnTo>
                  <a:pt x="52" y="0"/>
                </a:lnTo>
                <a:lnTo>
                  <a:pt x="52" y="15"/>
                </a:lnTo>
                <a:lnTo>
                  <a:pt x="18" y="31"/>
                </a:lnTo>
                <a:lnTo>
                  <a:pt x="0" y="96"/>
                </a:lnTo>
                <a:lnTo>
                  <a:pt x="18" y="96"/>
                </a:lnTo>
                <a:lnTo>
                  <a:pt x="35" y="111"/>
                </a:lnTo>
                <a:lnTo>
                  <a:pt x="35" y="78"/>
                </a:lnTo>
                <a:lnTo>
                  <a:pt x="52" y="96"/>
                </a:lnTo>
                <a:lnTo>
                  <a:pt x="102" y="96"/>
                </a:lnTo>
                <a:lnTo>
                  <a:pt x="154" y="144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4" name="Freeform 287a"/>
          <p:cNvSpPr>
            <a:spLocks/>
          </p:cNvSpPr>
          <p:nvPr/>
        </p:nvSpPr>
        <p:spPr bwMode="auto">
          <a:xfrm>
            <a:off x="5216444" y="3241854"/>
            <a:ext cx="747057" cy="608529"/>
          </a:xfrm>
          <a:custGeom>
            <a:avLst/>
            <a:gdLst/>
            <a:ahLst/>
            <a:cxnLst>
              <a:cxn ang="0">
                <a:pos x="347" y="90"/>
              </a:cxn>
              <a:cxn ang="0">
                <a:pos x="332" y="15"/>
              </a:cxn>
              <a:cxn ang="0">
                <a:pos x="304" y="0"/>
              </a:cxn>
              <a:cxn ang="0">
                <a:pos x="262" y="26"/>
              </a:cxn>
              <a:cxn ang="0">
                <a:pos x="247" y="15"/>
              </a:cxn>
              <a:cxn ang="0">
                <a:pos x="70" y="15"/>
              </a:cxn>
              <a:cxn ang="0">
                <a:pos x="70" y="52"/>
              </a:cxn>
              <a:cxn ang="0">
                <a:pos x="56" y="67"/>
              </a:cxn>
              <a:cxn ang="0">
                <a:pos x="42" y="78"/>
              </a:cxn>
              <a:cxn ang="0">
                <a:pos x="42" y="142"/>
              </a:cxn>
              <a:cxn ang="0">
                <a:pos x="42" y="154"/>
              </a:cxn>
              <a:cxn ang="0">
                <a:pos x="28" y="154"/>
              </a:cxn>
              <a:cxn ang="0">
                <a:pos x="0" y="206"/>
              </a:cxn>
              <a:cxn ang="0">
                <a:pos x="28" y="244"/>
              </a:cxn>
              <a:cxn ang="0">
                <a:pos x="14" y="244"/>
              </a:cxn>
              <a:cxn ang="0">
                <a:pos x="42" y="270"/>
              </a:cxn>
              <a:cxn ang="0">
                <a:pos x="42" y="296"/>
              </a:cxn>
              <a:cxn ang="0">
                <a:pos x="42" y="296"/>
              </a:cxn>
              <a:cxn ang="0">
                <a:pos x="54" y="296"/>
              </a:cxn>
              <a:cxn ang="0">
                <a:pos x="70" y="277"/>
              </a:cxn>
              <a:cxn ang="0">
                <a:pos x="80" y="263"/>
              </a:cxn>
              <a:cxn ang="0">
                <a:pos x="94" y="260"/>
              </a:cxn>
              <a:cxn ang="0">
                <a:pos x="115" y="282"/>
              </a:cxn>
              <a:cxn ang="0">
                <a:pos x="141" y="284"/>
              </a:cxn>
              <a:cxn ang="0">
                <a:pos x="181" y="267"/>
              </a:cxn>
              <a:cxn ang="0">
                <a:pos x="212" y="279"/>
              </a:cxn>
              <a:cxn ang="0">
                <a:pos x="231" y="258"/>
              </a:cxn>
              <a:cxn ang="0">
                <a:pos x="229" y="227"/>
              </a:cxn>
              <a:cxn ang="0">
                <a:pos x="255" y="223"/>
              </a:cxn>
              <a:cxn ang="0">
                <a:pos x="255" y="251"/>
              </a:cxn>
              <a:cxn ang="0">
                <a:pos x="273" y="263"/>
              </a:cxn>
              <a:cxn ang="0">
                <a:pos x="276" y="258"/>
              </a:cxn>
              <a:cxn ang="0">
                <a:pos x="318" y="206"/>
              </a:cxn>
              <a:cxn ang="0">
                <a:pos x="318" y="182"/>
              </a:cxn>
              <a:cxn ang="0">
                <a:pos x="332" y="130"/>
              </a:cxn>
              <a:cxn ang="0">
                <a:pos x="358" y="116"/>
              </a:cxn>
              <a:cxn ang="0">
                <a:pos x="358" y="104"/>
              </a:cxn>
              <a:cxn ang="0">
                <a:pos x="347" y="90"/>
              </a:cxn>
            </a:cxnLst>
            <a:rect l="0" t="0" r="r" b="b"/>
            <a:pathLst>
              <a:path w="358" h="296">
                <a:moveTo>
                  <a:pt x="347" y="90"/>
                </a:moveTo>
                <a:lnTo>
                  <a:pt x="332" y="15"/>
                </a:lnTo>
                <a:lnTo>
                  <a:pt x="304" y="0"/>
                </a:lnTo>
                <a:lnTo>
                  <a:pt x="262" y="26"/>
                </a:lnTo>
                <a:lnTo>
                  <a:pt x="247" y="15"/>
                </a:lnTo>
                <a:lnTo>
                  <a:pt x="70" y="15"/>
                </a:lnTo>
                <a:lnTo>
                  <a:pt x="70" y="52"/>
                </a:lnTo>
                <a:lnTo>
                  <a:pt x="56" y="67"/>
                </a:lnTo>
                <a:lnTo>
                  <a:pt x="42" y="78"/>
                </a:lnTo>
                <a:lnTo>
                  <a:pt x="42" y="142"/>
                </a:lnTo>
                <a:lnTo>
                  <a:pt x="42" y="154"/>
                </a:lnTo>
                <a:lnTo>
                  <a:pt x="28" y="154"/>
                </a:lnTo>
                <a:lnTo>
                  <a:pt x="0" y="206"/>
                </a:lnTo>
                <a:lnTo>
                  <a:pt x="28" y="244"/>
                </a:lnTo>
                <a:lnTo>
                  <a:pt x="14" y="244"/>
                </a:lnTo>
                <a:lnTo>
                  <a:pt x="42" y="270"/>
                </a:lnTo>
                <a:lnTo>
                  <a:pt x="42" y="296"/>
                </a:lnTo>
                <a:lnTo>
                  <a:pt x="42" y="296"/>
                </a:lnTo>
                <a:lnTo>
                  <a:pt x="54" y="296"/>
                </a:lnTo>
                <a:lnTo>
                  <a:pt x="70" y="277"/>
                </a:lnTo>
                <a:lnTo>
                  <a:pt x="80" y="263"/>
                </a:lnTo>
                <a:lnTo>
                  <a:pt x="94" y="260"/>
                </a:lnTo>
                <a:lnTo>
                  <a:pt x="115" y="282"/>
                </a:lnTo>
                <a:lnTo>
                  <a:pt x="141" y="284"/>
                </a:lnTo>
                <a:lnTo>
                  <a:pt x="181" y="267"/>
                </a:lnTo>
                <a:lnTo>
                  <a:pt x="212" y="279"/>
                </a:lnTo>
                <a:lnTo>
                  <a:pt x="231" y="258"/>
                </a:lnTo>
                <a:lnTo>
                  <a:pt x="229" y="227"/>
                </a:lnTo>
                <a:lnTo>
                  <a:pt x="255" y="223"/>
                </a:lnTo>
                <a:lnTo>
                  <a:pt x="255" y="251"/>
                </a:lnTo>
                <a:lnTo>
                  <a:pt x="273" y="263"/>
                </a:lnTo>
                <a:lnTo>
                  <a:pt x="276" y="258"/>
                </a:lnTo>
                <a:lnTo>
                  <a:pt x="318" y="206"/>
                </a:lnTo>
                <a:lnTo>
                  <a:pt x="318" y="182"/>
                </a:lnTo>
                <a:lnTo>
                  <a:pt x="332" y="130"/>
                </a:lnTo>
                <a:lnTo>
                  <a:pt x="358" y="116"/>
                </a:lnTo>
                <a:lnTo>
                  <a:pt x="358" y="104"/>
                </a:lnTo>
                <a:lnTo>
                  <a:pt x="347" y="90"/>
                </a:lnTo>
                <a:close/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6" name="Freeform 289"/>
          <p:cNvSpPr>
            <a:spLocks/>
          </p:cNvSpPr>
          <p:nvPr/>
        </p:nvSpPr>
        <p:spPr bwMode="auto">
          <a:xfrm>
            <a:off x="4643811" y="4110678"/>
            <a:ext cx="88858" cy="52656"/>
          </a:xfrm>
          <a:custGeom>
            <a:avLst/>
            <a:gdLst>
              <a:gd name="T0" fmla="*/ 11322 w 53"/>
              <a:gd name="T1" fmla="*/ 0 h 33"/>
              <a:gd name="T2" fmla="*/ 11322 w 53"/>
              <a:gd name="T3" fmla="*/ 0 h 33"/>
              <a:gd name="T4" fmla="*/ 11322 w 53"/>
              <a:gd name="T5" fmla="*/ 6158 h 33"/>
              <a:gd name="T6" fmla="*/ 4044 w 53"/>
              <a:gd name="T7" fmla="*/ 6158 h 33"/>
              <a:gd name="T8" fmla="*/ 0 w 53"/>
              <a:gd name="T9" fmla="*/ 6158 h 33"/>
              <a:gd name="T10" fmla="*/ 4044 w 53"/>
              <a:gd name="T11" fmla="*/ 0 h 33"/>
              <a:gd name="T12" fmla="*/ 11322 w 53"/>
              <a:gd name="T13" fmla="*/ 0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3"/>
              <a:gd name="T23" fmla="*/ 53 w 53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3">
                <a:moveTo>
                  <a:pt x="53" y="0"/>
                </a:moveTo>
                <a:lnTo>
                  <a:pt x="53" y="0"/>
                </a:lnTo>
                <a:lnTo>
                  <a:pt x="53" y="33"/>
                </a:lnTo>
                <a:lnTo>
                  <a:pt x="17" y="33"/>
                </a:lnTo>
                <a:lnTo>
                  <a:pt x="0" y="33"/>
                </a:lnTo>
                <a:lnTo>
                  <a:pt x="17" y="0"/>
                </a:lnTo>
                <a:lnTo>
                  <a:pt x="53" y="0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7" name="Freeform 291"/>
          <p:cNvSpPr>
            <a:spLocks/>
          </p:cNvSpPr>
          <p:nvPr/>
        </p:nvSpPr>
        <p:spPr bwMode="auto">
          <a:xfrm>
            <a:off x="6131340" y="3689430"/>
            <a:ext cx="59238" cy="78984"/>
          </a:xfrm>
          <a:custGeom>
            <a:avLst/>
            <a:gdLst>
              <a:gd name="T0" fmla="*/ 4202 w 34"/>
              <a:gd name="T1" fmla="*/ 9525 h 48"/>
              <a:gd name="T2" fmla="*/ 4202 w 34"/>
              <a:gd name="T3" fmla="*/ 9525 h 48"/>
              <a:gd name="T4" fmla="*/ 0 w 34"/>
              <a:gd name="T5" fmla="*/ 9525 h 48"/>
              <a:gd name="T6" fmla="*/ 0 w 34"/>
              <a:gd name="T7" fmla="*/ 5556 h 48"/>
              <a:gd name="T8" fmla="*/ 0 w 34"/>
              <a:gd name="T9" fmla="*/ 0 h 48"/>
              <a:gd name="T10" fmla="*/ 4202 w 34"/>
              <a:gd name="T11" fmla="*/ 0 h 48"/>
              <a:gd name="T12" fmla="*/ 8404 w 34"/>
              <a:gd name="T13" fmla="*/ 0 h 48"/>
              <a:gd name="T14" fmla="*/ 8404 w 34"/>
              <a:gd name="T15" fmla="*/ 2381 h 48"/>
              <a:gd name="T16" fmla="*/ 4202 w 34"/>
              <a:gd name="T17" fmla="*/ 2381 h 48"/>
              <a:gd name="T18" fmla="*/ 8404 w 34"/>
              <a:gd name="T19" fmla="*/ 5556 h 48"/>
              <a:gd name="T20" fmla="*/ 4202 w 34"/>
              <a:gd name="T21" fmla="*/ 9525 h 4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4"/>
              <a:gd name="T34" fmla="*/ 0 h 48"/>
              <a:gd name="T35" fmla="*/ 34 w 34"/>
              <a:gd name="T36" fmla="*/ 48 h 4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4" h="48">
                <a:moveTo>
                  <a:pt x="17" y="48"/>
                </a:moveTo>
                <a:lnTo>
                  <a:pt x="17" y="48"/>
                </a:lnTo>
                <a:lnTo>
                  <a:pt x="0" y="48"/>
                </a:lnTo>
                <a:lnTo>
                  <a:pt x="0" y="30"/>
                </a:lnTo>
                <a:lnTo>
                  <a:pt x="0" y="0"/>
                </a:lnTo>
                <a:lnTo>
                  <a:pt x="17" y="0"/>
                </a:lnTo>
                <a:lnTo>
                  <a:pt x="34" y="0"/>
                </a:lnTo>
                <a:lnTo>
                  <a:pt x="34" y="15"/>
                </a:lnTo>
                <a:lnTo>
                  <a:pt x="17" y="15"/>
                </a:lnTo>
                <a:lnTo>
                  <a:pt x="34" y="30"/>
                </a:lnTo>
                <a:lnTo>
                  <a:pt x="17" y="48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8" name="Freeform 292"/>
          <p:cNvSpPr>
            <a:spLocks/>
          </p:cNvSpPr>
          <p:nvPr/>
        </p:nvSpPr>
        <p:spPr bwMode="auto">
          <a:xfrm>
            <a:off x="5759456" y="4031695"/>
            <a:ext cx="371884" cy="368591"/>
          </a:xfrm>
          <a:custGeom>
            <a:avLst/>
            <a:gdLst>
              <a:gd name="T0" fmla="*/ 44254 w 227"/>
              <a:gd name="T1" fmla="*/ 3175 h 224"/>
              <a:gd name="T2" fmla="*/ 44254 w 227"/>
              <a:gd name="T3" fmla="*/ 3175 h 224"/>
              <a:gd name="T4" fmla="*/ 37932 w 227"/>
              <a:gd name="T5" fmla="*/ 0 h 224"/>
              <a:gd name="T6" fmla="*/ 27659 w 227"/>
              <a:gd name="T7" fmla="*/ 3175 h 224"/>
              <a:gd name="T8" fmla="*/ 10273 w 227"/>
              <a:gd name="T9" fmla="*/ 0 h 224"/>
              <a:gd name="T10" fmla="*/ 3161 w 227"/>
              <a:gd name="T11" fmla="*/ 0 h 224"/>
              <a:gd name="T12" fmla="*/ 0 w 227"/>
              <a:gd name="T13" fmla="*/ 0 h 224"/>
              <a:gd name="T14" fmla="*/ 3161 w 227"/>
              <a:gd name="T15" fmla="*/ 3175 h 224"/>
              <a:gd name="T16" fmla="*/ 6322 w 227"/>
              <a:gd name="T17" fmla="*/ 11906 h 224"/>
              <a:gd name="T18" fmla="*/ 0 w 227"/>
              <a:gd name="T19" fmla="*/ 22225 h 224"/>
              <a:gd name="T20" fmla="*/ 0 w 227"/>
              <a:gd name="T21" fmla="*/ 26194 h 224"/>
              <a:gd name="T22" fmla="*/ 3161 w 227"/>
              <a:gd name="T23" fmla="*/ 26194 h 224"/>
              <a:gd name="T24" fmla="*/ 20547 w 227"/>
              <a:gd name="T25" fmla="*/ 34925 h 224"/>
              <a:gd name="T26" fmla="*/ 20547 w 227"/>
              <a:gd name="T27" fmla="*/ 41275 h 224"/>
              <a:gd name="T28" fmla="*/ 30820 w 227"/>
              <a:gd name="T29" fmla="*/ 44450 h 224"/>
              <a:gd name="T30" fmla="*/ 33981 w 227"/>
              <a:gd name="T31" fmla="*/ 34925 h 224"/>
              <a:gd name="T32" fmla="*/ 37932 w 227"/>
              <a:gd name="T33" fmla="*/ 34925 h 224"/>
              <a:gd name="T34" fmla="*/ 41093 w 227"/>
              <a:gd name="T35" fmla="*/ 28575 h 224"/>
              <a:gd name="T36" fmla="*/ 37932 w 227"/>
              <a:gd name="T37" fmla="*/ 26194 h 224"/>
              <a:gd name="T38" fmla="*/ 37932 w 227"/>
              <a:gd name="T39" fmla="*/ 9525 h 224"/>
              <a:gd name="T40" fmla="*/ 44254 w 227"/>
              <a:gd name="T41" fmla="*/ 3175 h 22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27"/>
              <a:gd name="T64" fmla="*/ 0 h 224"/>
              <a:gd name="T65" fmla="*/ 227 w 227"/>
              <a:gd name="T66" fmla="*/ 224 h 22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27" h="224">
                <a:moveTo>
                  <a:pt x="227" y="15"/>
                </a:moveTo>
                <a:lnTo>
                  <a:pt x="227" y="15"/>
                </a:lnTo>
                <a:lnTo>
                  <a:pt x="192" y="0"/>
                </a:lnTo>
                <a:lnTo>
                  <a:pt x="140" y="15"/>
                </a:lnTo>
                <a:lnTo>
                  <a:pt x="52" y="0"/>
                </a:lnTo>
                <a:lnTo>
                  <a:pt x="18" y="0"/>
                </a:lnTo>
                <a:lnTo>
                  <a:pt x="0" y="0"/>
                </a:lnTo>
                <a:lnTo>
                  <a:pt x="18" y="15"/>
                </a:lnTo>
                <a:lnTo>
                  <a:pt x="35" y="63"/>
                </a:lnTo>
                <a:lnTo>
                  <a:pt x="0" y="111"/>
                </a:lnTo>
                <a:lnTo>
                  <a:pt x="0" y="129"/>
                </a:lnTo>
                <a:lnTo>
                  <a:pt x="18" y="129"/>
                </a:lnTo>
                <a:lnTo>
                  <a:pt x="104" y="176"/>
                </a:lnTo>
                <a:lnTo>
                  <a:pt x="104" y="207"/>
                </a:lnTo>
                <a:lnTo>
                  <a:pt x="158" y="224"/>
                </a:lnTo>
                <a:lnTo>
                  <a:pt x="175" y="176"/>
                </a:lnTo>
                <a:lnTo>
                  <a:pt x="192" y="176"/>
                </a:lnTo>
                <a:lnTo>
                  <a:pt x="210" y="144"/>
                </a:lnTo>
                <a:lnTo>
                  <a:pt x="192" y="129"/>
                </a:lnTo>
                <a:lnTo>
                  <a:pt x="192" y="48"/>
                </a:lnTo>
                <a:lnTo>
                  <a:pt x="227" y="15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9" name="Freeform 293"/>
          <p:cNvSpPr>
            <a:spLocks/>
          </p:cNvSpPr>
          <p:nvPr/>
        </p:nvSpPr>
        <p:spPr bwMode="auto">
          <a:xfrm>
            <a:off x="5561998" y="4031695"/>
            <a:ext cx="253407" cy="236951"/>
          </a:xfrm>
          <a:custGeom>
            <a:avLst/>
            <a:gdLst>
              <a:gd name="T0" fmla="*/ 23507 w 156"/>
              <a:gd name="T1" fmla="*/ 0 h 144"/>
              <a:gd name="T2" fmla="*/ 23507 w 156"/>
              <a:gd name="T3" fmla="*/ 0 h 144"/>
              <a:gd name="T4" fmla="*/ 26642 w 156"/>
              <a:gd name="T5" fmla="*/ 2381 h 144"/>
              <a:gd name="T6" fmla="*/ 29776 w 156"/>
              <a:gd name="T7" fmla="*/ 11906 h 144"/>
              <a:gd name="T8" fmla="*/ 23507 w 156"/>
              <a:gd name="T9" fmla="*/ 21431 h 144"/>
              <a:gd name="T10" fmla="*/ 23507 w 156"/>
              <a:gd name="T11" fmla="*/ 26194 h 144"/>
              <a:gd name="T12" fmla="*/ 13321 w 156"/>
              <a:gd name="T13" fmla="*/ 26194 h 144"/>
              <a:gd name="T14" fmla="*/ 6269 w 156"/>
              <a:gd name="T15" fmla="*/ 26194 h 144"/>
              <a:gd name="T16" fmla="*/ 0 w 156"/>
              <a:gd name="T17" fmla="*/ 28575 h 144"/>
              <a:gd name="T18" fmla="*/ 3134 w 156"/>
              <a:gd name="T19" fmla="*/ 19050 h 144"/>
              <a:gd name="T20" fmla="*/ 6269 w 156"/>
              <a:gd name="T21" fmla="*/ 15875 h 144"/>
              <a:gd name="T22" fmla="*/ 10186 w 156"/>
              <a:gd name="T23" fmla="*/ 9525 h 144"/>
              <a:gd name="T24" fmla="*/ 6269 w 156"/>
              <a:gd name="T25" fmla="*/ 9525 h 144"/>
              <a:gd name="T26" fmla="*/ 6269 w 156"/>
              <a:gd name="T27" fmla="*/ 2381 h 144"/>
              <a:gd name="T28" fmla="*/ 13321 w 156"/>
              <a:gd name="T29" fmla="*/ 2381 h 144"/>
              <a:gd name="T30" fmla="*/ 23507 w 156"/>
              <a:gd name="T31" fmla="*/ 0 h 14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56"/>
              <a:gd name="T49" fmla="*/ 0 h 144"/>
              <a:gd name="T50" fmla="*/ 156 w 156"/>
              <a:gd name="T51" fmla="*/ 144 h 14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56" h="144">
                <a:moveTo>
                  <a:pt x="121" y="0"/>
                </a:moveTo>
                <a:lnTo>
                  <a:pt x="121" y="0"/>
                </a:lnTo>
                <a:lnTo>
                  <a:pt x="139" y="15"/>
                </a:lnTo>
                <a:lnTo>
                  <a:pt x="156" y="63"/>
                </a:lnTo>
                <a:lnTo>
                  <a:pt x="121" y="111"/>
                </a:lnTo>
                <a:lnTo>
                  <a:pt x="121" y="129"/>
                </a:lnTo>
                <a:lnTo>
                  <a:pt x="69" y="129"/>
                </a:lnTo>
                <a:lnTo>
                  <a:pt x="35" y="129"/>
                </a:lnTo>
                <a:lnTo>
                  <a:pt x="0" y="144"/>
                </a:lnTo>
                <a:lnTo>
                  <a:pt x="18" y="96"/>
                </a:lnTo>
                <a:lnTo>
                  <a:pt x="35" y="81"/>
                </a:lnTo>
                <a:lnTo>
                  <a:pt x="52" y="48"/>
                </a:lnTo>
                <a:lnTo>
                  <a:pt x="35" y="48"/>
                </a:lnTo>
                <a:lnTo>
                  <a:pt x="35" y="15"/>
                </a:lnTo>
                <a:lnTo>
                  <a:pt x="69" y="15"/>
                </a:lnTo>
                <a:lnTo>
                  <a:pt x="121" y="0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0" name="Freeform 294"/>
          <p:cNvSpPr>
            <a:spLocks/>
          </p:cNvSpPr>
          <p:nvPr/>
        </p:nvSpPr>
        <p:spPr bwMode="auto">
          <a:xfrm>
            <a:off x="5532378" y="4242318"/>
            <a:ext cx="85566" cy="78984"/>
          </a:xfrm>
          <a:custGeom>
            <a:avLst/>
            <a:gdLst>
              <a:gd name="T0" fmla="*/ 10319 w 52"/>
              <a:gd name="T1" fmla="*/ 9728 h 47"/>
              <a:gd name="T2" fmla="*/ 10319 w 52"/>
              <a:gd name="T3" fmla="*/ 9728 h 47"/>
              <a:gd name="T4" fmla="*/ 3969 w 52"/>
              <a:gd name="T5" fmla="*/ 9728 h 47"/>
              <a:gd name="T6" fmla="*/ 0 w 52"/>
              <a:gd name="T7" fmla="*/ 9728 h 47"/>
              <a:gd name="T8" fmla="*/ 3969 w 52"/>
              <a:gd name="T9" fmla="*/ 3243 h 47"/>
              <a:gd name="T10" fmla="*/ 10319 w 52"/>
              <a:gd name="T11" fmla="*/ 0 h 47"/>
              <a:gd name="T12" fmla="*/ 10319 w 52"/>
              <a:gd name="T13" fmla="*/ 6485 h 47"/>
              <a:gd name="T14" fmla="*/ 10319 w 52"/>
              <a:gd name="T15" fmla="*/ 9728 h 4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2"/>
              <a:gd name="T25" fmla="*/ 0 h 47"/>
              <a:gd name="T26" fmla="*/ 52 w 52"/>
              <a:gd name="T27" fmla="*/ 47 h 4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2" h="47">
                <a:moveTo>
                  <a:pt x="52" y="47"/>
                </a:moveTo>
                <a:lnTo>
                  <a:pt x="52" y="47"/>
                </a:lnTo>
                <a:lnTo>
                  <a:pt x="17" y="47"/>
                </a:lnTo>
                <a:lnTo>
                  <a:pt x="0" y="47"/>
                </a:lnTo>
                <a:lnTo>
                  <a:pt x="17" y="15"/>
                </a:lnTo>
                <a:lnTo>
                  <a:pt x="52" y="0"/>
                </a:lnTo>
                <a:lnTo>
                  <a:pt x="52" y="30"/>
                </a:lnTo>
                <a:lnTo>
                  <a:pt x="52" y="47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1" name="Freeform 295"/>
          <p:cNvSpPr>
            <a:spLocks/>
          </p:cNvSpPr>
          <p:nvPr/>
        </p:nvSpPr>
        <p:spPr bwMode="auto">
          <a:xfrm>
            <a:off x="5561997" y="4321302"/>
            <a:ext cx="55948" cy="78984"/>
          </a:xfrm>
          <a:custGeom>
            <a:avLst/>
            <a:gdLst>
              <a:gd name="T0" fmla="*/ 6169 w 35"/>
              <a:gd name="T1" fmla="*/ 0 h 48"/>
              <a:gd name="T2" fmla="*/ 6169 w 35"/>
              <a:gd name="T3" fmla="*/ 0 h 48"/>
              <a:gd name="T4" fmla="*/ 6169 w 35"/>
              <a:gd name="T5" fmla="*/ 3175 h 48"/>
              <a:gd name="T6" fmla="*/ 0 w 35"/>
              <a:gd name="T7" fmla="*/ 9525 h 48"/>
              <a:gd name="T8" fmla="*/ 0 w 35"/>
              <a:gd name="T9" fmla="*/ 3175 h 48"/>
              <a:gd name="T10" fmla="*/ 0 w 35"/>
              <a:gd name="T11" fmla="*/ 0 h 48"/>
              <a:gd name="T12" fmla="*/ 6169 w 35"/>
              <a:gd name="T13" fmla="*/ 0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48"/>
              <a:gd name="T23" fmla="*/ 35 w 35"/>
              <a:gd name="T24" fmla="*/ 48 h 4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48">
                <a:moveTo>
                  <a:pt x="35" y="0"/>
                </a:moveTo>
                <a:lnTo>
                  <a:pt x="35" y="0"/>
                </a:lnTo>
                <a:lnTo>
                  <a:pt x="35" y="16"/>
                </a:lnTo>
                <a:lnTo>
                  <a:pt x="0" y="48"/>
                </a:lnTo>
                <a:lnTo>
                  <a:pt x="0" y="16"/>
                </a:lnTo>
                <a:lnTo>
                  <a:pt x="0" y="0"/>
                </a:lnTo>
                <a:lnTo>
                  <a:pt x="35" y="0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2" name="Freeform 296"/>
          <p:cNvSpPr>
            <a:spLocks/>
          </p:cNvSpPr>
          <p:nvPr/>
        </p:nvSpPr>
        <p:spPr bwMode="auto">
          <a:xfrm>
            <a:off x="3646638" y="2639605"/>
            <a:ext cx="543016" cy="394919"/>
          </a:xfrm>
          <a:custGeom>
            <a:avLst/>
            <a:gdLst>
              <a:gd name="T0" fmla="*/ 58738 w 330"/>
              <a:gd name="T1" fmla="*/ 3969 h 240"/>
              <a:gd name="T2" fmla="*/ 58738 w 330"/>
              <a:gd name="T3" fmla="*/ 3969 h 240"/>
              <a:gd name="T4" fmla="*/ 62706 w 330"/>
              <a:gd name="T5" fmla="*/ 3969 h 240"/>
              <a:gd name="T6" fmla="*/ 65881 w 330"/>
              <a:gd name="T7" fmla="*/ 19050 h 240"/>
              <a:gd name="T8" fmla="*/ 52388 w 330"/>
              <a:gd name="T9" fmla="*/ 23019 h 240"/>
              <a:gd name="T10" fmla="*/ 52388 w 330"/>
              <a:gd name="T11" fmla="*/ 25400 h 240"/>
              <a:gd name="T12" fmla="*/ 41275 w 330"/>
              <a:gd name="T13" fmla="*/ 32544 h 240"/>
              <a:gd name="T14" fmla="*/ 27781 w 330"/>
              <a:gd name="T15" fmla="*/ 38100 h 240"/>
              <a:gd name="T16" fmla="*/ 23813 w 330"/>
              <a:gd name="T17" fmla="*/ 42069 h 240"/>
              <a:gd name="T18" fmla="*/ 23813 w 330"/>
              <a:gd name="T19" fmla="*/ 47625 h 240"/>
              <a:gd name="T20" fmla="*/ 0 w 330"/>
              <a:gd name="T21" fmla="*/ 44450 h 240"/>
              <a:gd name="T22" fmla="*/ 7144 w 330"/>
              <a:gd name="T23" fmla="*/ 44450 h 240"/>
              <a:gd name="T24" fmla="*/ 14288 w 330"/>
              <a:gd name="T25" fmla="*/ 38100 h 240"/>
              <a:gd name="T26" fmla="*/ 17463 w 330"/>
              <a:gd name="T27" fmla="*/ 32544 h 240"/>
              <a:gd name="T28" fmla="*/ 17463 w 330"/>
              <a:gd name="T29" fmla="*/ 25400 h 240"/>
              <a:gd name="T30" fmla="*/ 20638 w 330"/>
              <a:gd name="T31" fmla="*/ 19050 h 240"/>
              <a:gd name="T32" fmla="*/ 23813 w 330"/>
              <a:gd name="T33" fmla="*/ 13494 h 240"/>
              <a:gd name="T34" fmla="*/ 34131 w 330"/>
              <a:gd name="T35" fmla="*/ 9525 h 240"/>
              <a:gd name="T36" fmla="*/ 38100 w 330"/>
              <a:gd name="T37" fmla="*/ 0 h 240"/>
              <a:gd name="T38" fmla="*/ 41275 w 330"/>
              <a:gd name="T39" fmla="*/ 0 h 240"/>
              <a:gd name="T40" fmla="*/ 44450 w 330"/>
              <a:gd name="T41" fmla="*/ 3969 h 240"/>
              <a:gd name="T42" fmla="*/ 55563 w 330"/>
              <a:gd name="T43" fmla="*/ 3969 h 240"/>
              <a:gd name="T44" fmla="*/ 58738 w 330"/>
              <a:gd name="T45" fmla="*/ 3969 h 24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30"/>
              <a:gd name="T70" fmla="*/ 0 h 240"/>
              <a:gd name="T71" fmla="*/ 330 w 330"/>
              <a:gd name="T72" fmla="*/ 240 h 24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30" h="240">
                <a:moveTo>
                  <a:pt x="296" y="17"/>
                </a:moveTo>
                <a:lnTo>
                  <a:pt x="296" y="17"/>
                </a:lnTo>
                <a:lnTo>
                  <a:pt x="313" y="17"/>
                </a:lnTo>
                <a:lnTo>
                  <a:pt x="330" y="96"/>
                </a:lnTo>
                <a:lnTo>
                  <a:pt x="261" y="113"/>
                </a:lnTo>
                <a:lnTo>
                  <a:pt x="261" y="128"/>
                </a:lnTo>
                <a:lnTo>
                  <a:pt x="209" y="161"/>
                </a:lnTo>
                <a:lnTo>
                  <a:pt x="140" y="192"/>
                </a:lnTo>
                <a:lnTo>
                  <a:pt x="123" y="209"/>
                </a:lnTo>
                <a:lnTo>
                  <a:pt x="123" y="240"/>
                </a:lnTo>
                <a:lnTo>
                  <a:pt x="0" y="224"/>
                </a:lnTo>
                <a:lnTo>
                  <a:pt x="36" y="224"/>
                </a:lnTo>
                <a:lnTo>
                  <a:pt x="71" y="192"/>
                </a:lnTo>
                <a:lnTo>
                  <a:pt x="88" y="161"/>
                </a:lnTo>
                <a:lnTo>
                  <a:pt x="88" y="128"/>
                </a:lnTo>
                <a:lnTo>
                  <a:pt x="106" y="96"/>
                </a:lnTo>
                <a:lnTo>
                  <a:pt x="123" y="65"/>
                </a:lnTo>
                <a:lnTo>
                  <a:pt x="175" y="48"/>
                </a:lnTo>
                <a:lnTo>
                  <a:pt x="192" y="0"/>
                </a:lnTo>
                <a:lnTo>
                  <a:pt x="209" y="0"/>
                </a:lnTo>
                <a:lnTo>
                  <a:pt x="227" y="17"/>
                </a:lnTo>
                <a:lnTo>
                  <a:pt x="278" y="17"/>
                </a:lnTo>
                <a:lnTo>
                  <a:pt x="296" y="17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3" name="Freeform 297"/>
          <p:cNvSpPr>
            <a:spLocks/>
          </p:cNvSpPr>
          <p:nvPr/>
        </p:nvSpPr>
        <p:spPr bwMode="auto">
          <a:xfrm>
            <a:off x="3847391" y="2560622"/>
            <a:ext cx="914897" cy="842495"/>
          </a:xfrm>
          <a:custGeom>
            <a:avLst/>
            <a:gdLst>
              <a:gd name="T0" fmla="*/ 34988 w 555"/>
              <a:gd name="T1" fmla="*/ 12700 h 512"/>
              <a:gd name="T2" fmla="*/ 34988 w 555"/>
              <a:gd name="T3" fmla="*/ 12700 h 512"/>
              <a:gd name="T4" fmla="*/ 38169 w 555"/>
              <a:gd name="T5" fmla="*/ 12700 h 512"/>
              <a:gd name="T6" fmla="*/ 42145 w 555"/>
              <a:gd name="T7" fmla="*/ 28575 h 512"/>
              <a:gd name="T8" fmla="*/ 27831 w 555"/>
              <a:gd name="T9" fmla="*/ 31750 h 512"/>
              <a:gd name="T10" fmla="*/ 27831 w 555"/>
              <a:gd name="T11" fmla="*/ 34925 h 512"/>
              <a:gd name="T12" fmla="*/ 17494 w 555"/>
              <a:gd name="T13" fmla="*/ 41275 h 512"/>
              <a:gd name="T14" fmla="*/ 3976 w 555"/>
              <a:gd name="T15" fmla="*/ 47625 h 512"/>
              <a:gd name="T16" fmla="*/ 0 w 555"/>
              <a:gd name="T17" fmla="*/ 50800 h 512"/>
              <a:gd name="T18" fmla="*/ 0 w 555"/>
              <a:gd name="T19" fmla="*/ 57150 h 512"/>
              <a:gd name="T20" fmla="*/ 20675 w 555"/>
              <a:gd name="T21" fmla="*/ 69850 h 512"/>
              <a:gd name="T22" fmla="*/ 52482 w 555"/>
              <a:gd name="T23" fmla="*/ 92075 h 512"/>
              <a:gd name="T24" fmla="*/ 55663 w 555"/>
              <a:gd name="T25" fmla="*/ 95250 h 512"/>
              <a:gd name="T26" fmla="*/ 62819 w 555"/>
              <a:gd name="T27" fmla="*/ 98425 h 512"/>
              <a:gd name="T28" fmla="*/ 66000 w 555"/>
              <a:gd name="T29" fmla="*/ 101600 h 512"/>
              <a:gd name="T30" fmla="*/ 69181 w 555"/>
              <a:gd name="T31" fmla="*/ 101600 h 512"/>
              <a:gd name="T32" fmla="*/ 76337 w 555"/>
              <a:gd name="T33" fmla="*/ 101600 h 512"/>
              <a:gd name="T34" fmla="*/ 110530 w 555"/>
              <a:gd name="T35" fmla="*/ 79375 h 512"/>
              <a:gd name="T36" fmla="*/ 107349 w 555"/>
              <a:gd name="T37" fmla="*/ 73025 h 512"/>
              <a:gd name="T38" fmla="*/ 103373 w 555"/>
              <a:gd name="T39" fmla="*/ 73025 h 512"/>
              <a:gd name="T40" fmla="*/ 97012 w 555"/>
              <a:gd name="T41" fmla="*/ 63500 h 512"/>
              <a:gd name="T42" fmla="*/ 100193 w 555"/>
              <a:gd name="T43" fmla="*/ 60325 h 512"/>
              <a:gd name="T44" fmla="*/ 100193 w 555"/>
              <a:gd name="T45" fmla="*/ 53975 h 512"/>
              <a:gd name="T46" fmla="*/ 100193 w 555"/>
              <a:gd name="T47" fmla="*/ 47625 h 512"/>
              <a:gd name="T48" fmla="*/ 97012 w 555"/>
              <a:gd name="T49" fmla="*/ 44450 h 512"/>
              <a:gd name="T50" fmla="*/ 97012 w 555"/>
              <a:gd name="T51" fmla="*/ 41275 h 512"/>
              <a:gd name="T52" fmla="*/ 97012 w 555"/>
              <a:gd name="T53" fmla="*/ 31750 h 512"/>
              <a:gd name="T54" fmla="*/ 89855 w 555"/>
              <a:gd name="T55" fmla="*/ 28575 h 512"/>
              <a:gd name="T56" fmla="*/ 86675 w 555"/>
              <a:gd name="T57" fmla="*/ 22225 h 512"/>
              <a:gd name="T58" fmla="*/ 93036 w 555"/>
              <a:gd name="T59" fmla="*/ 15875 h 512"/>
              <a:gd name="T60" fmla="*/ 89855 w 555"/>
              <a:gd name="T61" fmla="*/ 3175 h 512"/>
              <a:gd name="T62" fmla="*/ 93036 w 555"/>
              <a:gd name="T63" fmla="*/ 0 h 512"/>
              <a:gd name="T64" fmla="*/ 89855 w 555"/>
              <a:gd name="T65" fmla="*/ 3175 h 512"/>
              <a:gd name="T66" fmla="*/ 79518 w 555"/>
              <a:gd name="T67" fmla="*/ 0 h 512"/>
              <a:gd name="T68" fmla="*/ 76337 w 555"/>
              <a:gd name="T69" fmla="*/ 3175 h 512"/>
              <a:gd name="T70" fmla="*/ 69181 w 555"/>
              <a:gd name="T71" fmla="*/ 0 h 512"/>
              <a:gd name="T72" fmla="*/ 62819 w 555"/>
              <a:gd name="T73" fmla="*/ 3175 h 512"/>
              <a:gd name="T74" fmla="*/ 52482 w 555"/>
              <a:gd name="T75" fmla="*/ 3175 h 512"/>
              <a:gd name="T76" fmla="*/ 34988 w 555"/>
              <a:gd name="T77" fmla="*/ 12700 h 51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555"/>
              <a:gd name="T118" fmla="*/ 0 h 512"/>
              <a:gd name="T119" fmla="*/ 555 w 555"/>
              <a:gd name="T120" fmla="*/ 512 h 51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555" h="512">
                <a:moveTo>
                  <a:pt x="173" y="65"/>
                </a:moveTo>
                <a:lnTo>
                  <a:pt x="173" y="65"/>
                </a:lnTo>
                <a:lnTo>
                  <a:pt x="192" y="65"/>
                </a:lnTo>
                <a:lnTo>
                  <a:pt x="209" y="144"/>
                </a:lnTo>
                <a:lnTo>
                  <a:pt x="138" y="161"/>
                </a:lnTo>
                <a:lnTo>
                  <a:pt x="138" y="176"/>
                </a:lnTo>
                <a:lnTo>
                  <a:pt x="86" y="209"/>
                </a:lnTo>
                <a:lnTo>
                  <a:pt x="17" y="240"/>
                </a:lnTo>
                <a:lnTo>
                  <a:pt x="0" y="257"/>
                </a:lnTo>
                <a:lnTo>
                  <a:pt x="0" y="288"/>
                </a:lnTo>
                <a:lnTo>
                  <a:pt x="104" y="353"/>
                </a:lnTo>
                <a:lnTo>
                  <a:pt x="261" y="464"/>
                </a:lnTo>
                <a:lnTo>
                  <a:pt x="278" y="480"/>
                </a:lnTo>
                <a:lnTo>
                  <a:pt x="313" y="497"/>
                </a:lnTo>
                <a:lnTo>
                  <a:pt x="330" y="512"/>
                </a:lnTo>
                <a:lnTo>
                  <a:pt x="347" y="512"/>
                </a:lnTo>
                <a:lnTo>
                  <a:pt x="382" y="512"/>
                </a:lnTo>
                <a:lnTo>
                  <a:pt x="555" y="401"/>
                </a:lnTo>
                <a:lnTo>
                  <a:pt x="537" y="368"/>
                </a:lnTo>
                <a:lnTo>
                  <a:pt x="520" y="368"/>
                </a:lnTo>
                <a:lnTo>
                  <a:pt x="486" y="320"/>
                </a:lnTo>
                <a:lnTo>
                  <a:pt x="503" y="305"/>
                </a:lnTo>
                <a:lnTo>
                  <a:pt x="503" y="272"/>
                </a:lnTo>
                <a:lnTo>
                  <a:pt x="503" y="240"/>
                </a:lnTo>
                <a:lnTo>
                  <a:pt x="486" y="224"/>
                </a:lnTo>
                <a:lnTo>
                  <a:pt x="486" y="209"/>
                </a:lnTo>
                <a:lnTo>
                  <a:pt x="486" y="161"/>
                </a:lnTo>
                <a:lnTo>
                  <a:pt x="451" y="144"/>
                </a:lnTo>
                <a:lnTo>
                  <a:pt x="434" y="113"/>
                </a:lnTo>
                <a:lnTo>
                  <a:pt x="468" y="80"/>
                </a:lnTo>
                <a:lnTo>
                  <a:pt x="451" y="17"/>
                </a:lnTo>
                <a:lnTo>
                  <a:pt x="468" y="0"/>
                </a:lnTo>
                <a:lnTo>
                  <a:pt x="451" y="17"/>
                </a:lnTo>
                <a:lnTo>
                  <a:pt x="399" y="0"/>
                </a:lnTo>
                <a:lnTo>
                  <a:pt x="382" y="17"/>
                </a:lnTo>
                <a:lnTo>
                  <a:pt x="347" y="0"/>
                </a:lnTo>
                <a:lnTo>
                  <a:pt x="313" y="17"/>
                </a:lnTo>
                <a:lnTo>
                  <a:pt x="261" y="17"/>
                </a:lnTo>
                <a:lnTo>
                  <a:pt x="173" y="65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4" name="Freeform 298"/>
          <p:cNvSpPr>
            <a:spLocks/>
          </p:cNvSpPr>
          <p:nvPr/>
        </p:nvSpPr>
        <p:spPr bwMode="auto">
          <a:xfrm>
            <a:off x="4558247" y="2560621"/>
            <a:ext cx="174423" cy="345556"/>
          </a:xfrm>
          <a:custGeom>
            <a:avLst/>
            <a:gdLst>
              <a:gd name="T0" fmla="*/ 21635 w 105"/>
              <a:gd name="T1" fmla="*/ 25522 h 209"/>
              <a:gd name="T2" fmla="*/ 21635 w 105"/>
              <a:gd name="T3" fmla="*/ 25522 h 209"/>
              <a:gd name="T4" fmla="*/ 21635 w 105"/>
              <a:gd name="T5" fmla="*/ 28712 h 209"/>
              <a:gd name="T6" fmla="*/ 14424 w 105"/>
              <a:gd name="T7" fmla="*/ 35092 h 209"/>
              <a:gd name="T8" fmla="*/ 14424 w 105"/>
              <a:gd name="T9" fmla="*/ 38282 h 209"/>
              <a:gd name="T10" fmla="*/ 11218 w 105"/>
              <a:gd name="T11" fmla="*/ 42270 h 209"/>
              <a:gd name="T12" fmla="*/ 11218 w 105"/>
              <a:gd name="T13" fmla="*/ 32700 h 209"/>
              <a:gd name="T14" fmla="*/ 4007 w 105"/>
              <a:gd name="T15" fmla="*/ 28712 h 209"/>
              <a:gd name="T16" fmla="*/ 0 w 105"/>
              <a:gd name="T17" fmla="*/ 23129 h 209"/>
              <a:gd name="T18" fmla="*/ 7212 w 105"/>
              <a:gd name="T19" fmla="*/ 15951 h 209"/>
              <a:gd name="T20" fmla="*/ 4007 w 105"/>
              <a:gd name="T21" fmla="*/ 3988 h 209"/>
              <a:gd name="T22" fmla="*/ 7212 w 105"/>
              <a:gd name="T23" fmla="*/ 0 h 209"/>
              <a:gd name="T24" fmla="*/ 14424 w 105"/>
              <a:gd name="T25" fmla="*/ 0 h 209"/>
              <a:gd name="T26" fmla="*/ 17629 w 105"/>
              <a:gd name="T27" fmla="*/ 3988 h 209"/>
              <a:gd name="T28" fmla="*/ 21635 w 105"/>
              <a:gd name="T29" fmla="*/ 0 h 209"/>
              <a:gd name="T30" fmla="*/ 17629 w 105"/>
              <a:gd name="T31" fmla="*/ 6380 h 209"/>
              <a:gd name="T32" fmla="*/ 21635 w 105"/>
              <a:gd name="T33" fmla="*/ 13558 h 209"/>
              <a:gd name="T34" fmla="*/ 14424 w 105"/>
              <a:gd name="T35" fmla="*/ 19141 h 209"/>
              <a:gd name="T36" fmla="*/ 14424 w 105"/>
              <a:gd name="T37" fmla="*/ 23129 h 209"/>
              <a:gd name="T38" fmla="*/ 21635 w 105"/>
              <a:gd name="T39" fmla="*/ 23129 h 209"/>
              <a:gd name="T40" fmla="*/ 21635 w 105"/>
              <a:gd name="T41" fmla="*/ 25522 h 20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5"/>
              <a:gd name="T64" fmla="*/ 0 h 209"/>
              <a:gd name="T65" fmla="*/ 105 w 105"/>
              <a:gd name="T66" fmla="*/ 209 h 20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5" h="209">
                <a:moveTo>
                  <a:pt x="105" y="128"/>
                </a:moveTo>
                <a:lnTo>
                  <a:pt x="105" y="128"/>
                </a:lnTo>
                <a:lnTo>
                  <a:pt x="105" y="144"/>
                </a:lnTo>
                <a:lnTo>
                  <a:pt x="71" y="176"/>
                </a:lnTo>
                <a:lnTo>
                  <a:pt x="71" y="192"/>
                </a:lnTo>
                <a:lnTo>
                  <a:pt x="54" y="209"/>
                </a:lnTo>
                <a:lnTo>
                  <a:pt x="54" y="161"/>
                </a:lnTo>
                <a:lnTo>
                  <a:pt x="17" y="144"/>
                </a:lnTo>
                <a:lnTo>
                  <a:pt x="0" y="113"/>
                </a:lnTo>
                <a:lnTo>
                  <a:pt x="34" y="80"/>
                </a:lnTo>
                <a:lnTo>
                  <a:pt x="17" y="17"/>
                </a:lnTo>
                <a:lnTo>
                  <a:pt x="34" y="0"/>
                </a:lnTo>
                <a:lnTo>
                  <a:pt x="71" y="0"/>
                </a:lnTo>
                <a:lnTo>
                  <a:pt x="88" y="17"/>
                </a:lnTo>
                <a:lnTo>
                  <a:pt x="105" y="0"/>
                </a:lnTo>
                <a:lnTo>
                  <a:pt x="88" y="32"/>
                </a:lnTo>
                <a:lnTo>
                  <a:pt x="105" y="65"/>
                </a:lnTo>
                <a:lnTo>
                  <a:pt x="71" y="96"/>
                </a:lnTo>
                <a:lnTo>
                  <a:pt x="71" y="113"/>
                </a:lnTo>
                <a:lnTo>
                  <a:pt x="105" y="113"/>
                </a:lnTo>
                <a:lnTo>
                  <a:pt x="105" y="128"/>
                </a:lnTo>
                <a:close/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Freeform 299"/>
          <p:cNvSpPr>
            <a:spLocks/>
          </p:cNvSpPr>
          <p:nvPr/>
        </p:nvSpPr>
        <p:spPr bwMode="auto">
          <a:xfrm>
            <a:off x="3679550" y="3136545"/>
            <a:ext cx="737183" cy="658199"/>
          </a:xfrm>
          <a:custGeom>
            <a:avLst/>
            <a:gdLst>
              <a:gd name="T0" fmla="*/ 41183 w 449"/>
              <a:gd name="T1" fmla="*/ 0 h 399"/>
              <a:gd name="T2" fmla="*/ 41183 w 449"/>
              <a:gd name="T3" fmla="*/ 0 h 399"/>
              <a:gd name="T4" fmla="*/ 71278 w 449"/>
              <a:gd name="T5" fmla="*/ 22281 h 399"/>
              <a:gd name="T6" fmla="*/ 75238 w 449"/>
              <a:gd name="T7" fmla="*/ 25464 h 399"/>
              <a:gd name="T8" fmla="*/ 81574 w 449"/>
              <a:gd name="T9" fmla="*/ 28647 h 399"/>
              <a:gd name="T10" fmla="*/ 85534 w 449"/>
              <a:gd name="T11" fmla="*/ 31830 h 399"/>
              <a:gd name="T12" fmla="*/ 88702 w 449"/>
              <a:gd name="T13" fmla="*/ 31830 h 399"/>
              <a:gd name="T14" fmla="*/ 88702 w 449"/>
              <a:gd name="T15" fmla="*/ 47744 h 399"/>
              <a:gd name="T16" fmla="*/ 85534 w 449"/>
              <a:gd name="T17" fmla="*/ 50927 h 399"/>
              <a:gd name="T18" fmla="*/ 68110 w 449"/>
              <a:gd name="T19" fmla="*/ 54110 h 399"/>
              <a:gd name="T20" fmla="*/ 60983 w 449"/>
              <a:gd name="T21" fmla="*/ 54110 h 399"/>
              <a:gd name="T22" fmla="*/ 54647 w 449"/>
              <a:gd name="T23" fmla="*/ 60476 h 399"/>
              <a:gd name="T24" fmla="*/ 47519 w 449"/>
              <a:gd name="T25" fmla="*/ 63659 h 399"/>
              <a:gd name="T26" fmla="*/ 41183 w 449"/>
              <a:gd name="T27" fmla="*/ 73208 h 399"/>
              <a:gd name="T28" fmla="*/ 37223 w 449"/>
              <a:gd name="T29" fmla="*/ 76391 h 399"/>
              <a:gd name="T30" fmla="*/ 34055 w 449"/>
              <a:gd name="T31" fmla="*/ 79574 h 399"/>
              <a:gd name="T32" fmla="*/ 30887 w 449"/>
              <a:gd name="T33" fmla="*/ 76391 h 399"/>
              <a:gd name="T34" fmla="*/ 26927 w 449"/>
              <a:gd name="T35" fmla="*/ 79574 h 399"/>
              <a:gd name="T36" fmla="*/ 23759 w 449"/>
              <a:gd name="T37" fmla="*/ 79574 h 399"/>
              <a:gd name="T38" fmla="*/ 16632 w 449"/>
              <a:gd name="T39" fmla="*/ 66842 h 399"/>
              <a:gd name="T40" fmla="*/ 10296 w 449"/>
              <a:gd name="T41" fmla="*/ 70025 h 399"/>
              <a:gd name="T42" fmla="*/ 3168 w 449"/>
              <a:gd name="T43" fmla="*/ 70025 h 399"/>
              <a:gd name="T44" fmla="*/ 6336 w 449"/>
              <a:gd name="T45" fmla="*/ 66842 h 399"/>
              <a:gd name="T46" fmla="*/ 0 w 449"/>
              <a:gd name="T47" fmla="*/ 54110 h 399"/>
              <a:gd name="T48" fmla="*/ 6336 w 449"/>
              <a:gd name="T49" fmla="*/ 50927 h 399"/>
              <a:gd name="T50" fmla="*/ 10296 w 449"/>
              <a:gd name="T51" fmla="*/ 54110 h 399"/>
              <a:gd name="T52" fmla="*/ 13464 w 449"/>
              <a:gd name="T53" fmla="*/ 50927 h 399"/>
              <a:gd name="T54" fmla="*/ 37223 w 449"/>
              <a:gd name="T55" fmla="*/ 50927 h 399"/>
              <a:gd name="T56" fmla="*/ 30887 w 449"/>
              <a:gd name="T57" fmla="*/ 0 h 399"/>
              <a:gd name="T58" fmla="*/ 41183 w 449"/>
              <a:gd name="T59" fmla="*/ 0 h 399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449"/>
              <a:gd name="T91" fmla="*/ 0 h 399"/>
              <a:gd name="T92" fmla="*/ 449 w 449"/>
              <a:gd name="T93" fmla="*/ 399 h 399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449" h="399">
                <a:moveTo>
                  <a:pt x="208" y="0"/>
                </a:moveTo>
                <a:lnTo>
                  <a:pt x="208" y="0"/>
                </a:lnTo>
                <a:lnTo>
                  <a:pt x="363" y="111"/>
                </a:lnTo>
                <a:lnTo>
                  <a:pt x="380" y="127"/>
                </a:lnTo>
                <a:lnTo>
                  <a:pt x="415" y="144"/>
                </a:lnTo>
                <a:lnTo>
                  <a:pt x="432" y="159"/>
                </a:lnTo>
                <a:lnTo>
                  <a:pt x="449" y="159"/>
                </a:lnTo>
                <a:lnTo>
                  <a:pt x="449" y="240"/>
                </a:lnTo>
                <a:lnTo>
                  <a:pt x="432" y="255"/>
                </a:lnTo>
                <a:lnTo>
                  <a:pt x="346" y="270"/>
                </a:lnTo>
                <a:lnTo>
                  <a:pt x="311" y="270"/>
                </a:lnTo>
                <a:lnTo>
                  <a:pt x="277" y="303"/>
                </a:lnTo>
                <a:lnTo>
                  <a:pt x="242" y="318"/>
                </a:lnTo>
                <a:lnTo>
                  <a:pt x="208" y="366"/>
                </a:lnTo>
                <a:lnTo>
                  <a:pt x="190" y="384"/>
                </a:lnTo>
                <a:lnTo>
                  <a:pt x="173" y="399"/>
                </a:lnTo>
                <a:lnTo>
                  <a:pt x="156" y="384"/>
                </a:lnTo>
                <a:lnTo>
                  <a:pt x="138" y="399"/>
                </a:lnTo>
                <a:lnTo>
                  <a:pt x="121" y="399"/>
                </a:lnTo>
                <a:lnTo>
                  <a:pt x="87" y="336"/>
                </a:lnTo>
                <a:lnTo>
                  <a:pt x="52" y="351"/>
                </a:lnTo>
                <a:lnTo>
                  <a:pt x="17" y="351"/>
                </a:lnTo>
                <a:lnTo>
                  <a:pt x="35" y="336"/>
                </a:lnTo>
                <a:lnTo>
                  <a:pt x="0" y="270"/>
                </a:lnTo>
                <a:lnTo>
                  <a:pt x="35" y="255"/>
                </a:lnTo>
                <a:lnTo>
                  <a:pt x="52" y="270"/>
                </a:lnTo>
                <a:lnTo>
                  <a:pt x="69" y="255"/>
                </a:lnTo>
                <a:lnTo>
                  <a:pt x="190" y="255"/>
                </a:lnTo>
                <a:lnTo>
                  <a:pt x="156" y="0"/>
                </a:lnTo>
                <a:lnTo>
                  <a:pt x="208" y="0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Freeform 300"/>
          <p:cNvSpPr>
            <a:spLocks/>
          </p:cNvSpPr>
          <p:nvPr/>
        </p:nvSpPr>
        <p:spPr bwMode="auto">
          <a:xfrm>
            <a:off x="3475507" y="3034523"/>
            <a:ext cx="543016" cy="552888"/>
          </a:xfrm>
          <a:custGeom>
            <a:avLst/>
            <a:gdLst>
              <a:gd name="T0" fmla="*/ 0 w 331"/>
              <a:gd name="T1" fmla="*/ 35029 h 335"/>
              <a:gd name="T2" fmla="*/ 0 w 331"/>
              <a:gd name="T3" fmla="*/ 35029 h 335"/>
              <a:gd name="T4" fmla="*/ 3165 w 331"/>
              <a:gd name="T5" fmla="*/ 32641 h 335"/>
              <a:gd name="T6" fmla="*/ 20575 w 331"/>
              <a:gd name="T7" fmla="*/ 32641 h 335"/>
              <a:gd name="T8" fmla="*/ 20575 w 331"/>
              <a:gd name="T9" fmla="*/ 25476 h 335"/>
              <a:gd name="T10" fmla="*/ 27697 w 331"/>
              <a:gd name="T11" fmla="*/ 23087 h 335"/>
              <a:gd name="T12" fmla="*/ 27697 w 331"/>
              <a:gd name="T13" fmla="*/ 6369 h 335"/>
              <a:gd name="T14" fmla="*/ 44316 w 331"/>
              <a:gd name="T15" fmla="*/ 6369 h 335"/>
              <a:gd name="T16" fmla="*/ 44316 w 331"/>
              <a:gd name="T17" fmla="*/ 0 h 335"/>
              <a:gd name="T18" fmla="*/ 64891 w 331"/>
              <a:gd name="T19" fmla="*/ 13534 h 335"/>
              <a:gd name="T20" fmla="*/ 54603 w 331"/>
              <a:gd name="T21" fmla="*/ 13534 h 335"/>
              <a:gd name="T22" fmla="*/ 61726 w 331"/>
              <a:gd name="T23" fmla="*/ 63690 h 335"/>
              <a:gd name="T24" fmla="*/ 37985 w 331"/>
              <a:gd name="T25" fmla="*/ 63690 h 335"/>
              <a:gd name="T26" fmla="*/ 34028 w 331"/>
              <a:gd name="T27" fmla="*/ 66874 h 335"/>
              <a:gd name="T28" fmla="*/ 30863 w 331"/>
              <a:gd name="T29" fmla="*/ 63690 h 335"/>
              <a:gd name="T30" fmla="*/ 23741 w 331"/>
              <a:gd name="T31" fmla="*/ 66874 h 335"/>
              <a:gd name="T32" fmla="*/ 20575 w 331"/>
              <a:gd name="T33" fmla="*/ 61301 h 335"/>
              <a:gd name="T34" fmla="*/ 10288 w 331"/>
              <a:gd name="T35" fmla="*/ 57321 h 335"/>
              <a:gd name="T36" fmla="*/ 3165 w 331"/>
              <a:gd name="T37" fmla="*/ 57321 h 335"/>
              <a:gd name="T38" fmla="*/ 0 w 331"/>
              <a:gd name="T39" fmla="*/ 61301 h 335"/>
              <a:gd name="T40" fmla="*/ 3165 w 331"/>
              <a:gd name="T41" fmla="*/ 47767 h 335"/>
              <a:gd name="T42" fmla="*/ 0 w 331"/>
              <a:gd name="T43" fmla="*/ 44583 h 335"/>
              <a:gd name="T44" fmla="*/ 3165 w 331"/>
              <a:gd name="T45" fmla="*/ 38214 h 335"/>
              <a:gd name="T46" fmla="*/ 0 w 331"/>
              <a:gd name="T47" fmla="*/ 35029 h 33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31"/>
              <a:gd name="T73" fmla="*/ 0 h 335"/>
              <a:gd name="T74" fmla="*/ 331 w 331"/>
              <a:gd name="T75" fmla="*/ 335 h 33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31" h="335">
                <a:moveTo>
                  <a:pt x="0" y="176"/>
                </a:moveTo>
                <a:lnTo>
                  <a:pt x="0" y="176"/>
                </a:lnTo>
                <a:lnTo>
                  <a:pt x="18" y="161"/>
                </a:lnTo>
                <a:lnTo>
                  <a:pt x="106" y="161"/>
                </a:lnTo>
                <a:lnTo>
                  <a:pt x="106" y="128"/>
                </a:lnTo>
                <a:lnTo>
                  <a:pt x="140" y="113"/>
                </a:lnTo>
                <a:lnTo>
                  <a:pt x="140" y="32"/>
                </a:lnTo>
                <a:lnTo>
                  <a:pt x="227" y="32"/>
                </a:lnTo>
                <a:lnTo>
                  <a:pt x="227" y="0"/>
                </a:lnTo>
                <a:lnTo>
                  <a:pt x="331" y="65"/>
                </a:lnTo>
                <a:lnTo>
                  <a:pt x="279" y="65"/>
                </a:lnTo>
                <a:lnTo>
                  <a:pt x="313" y="320"/>
                </a:lnTo>
                <a:lnTo>
                  <a:pt x="192" y="320"/>
                </a:lnTo>
                <a:lnTo>
                  <a:pt x="175" y="335"/>
                </a:lnTo>
                <a:lnTo>
                  <a:pt x="158" y="320"/>
                </a:lnTo>
                <a:lnTo>
                  <a:pt x="123" y="335"/>
                </a:lnTo>
                <a:lnTo>
                  <a:pt x="106" y="305"/>
                </a:lnTo>
                <a:lnTo>
                  <a:pt x="52" y="288"/>
                </a:lnTo>
                <a:lnTo>
                  <a:pt x="18" y="288"/>
                </a:lnTo>
                <a:lnTo>
                  <a:pt x="0" y="305"/>
                </a:lnTo>
                <a:lnTo>
                  <a:pt x="18" y="240"/>
                </a:lnTo>
                <a:lnTo>
                  <a:pt x="0" y="224"/>
                </a:lnTo>
                <a:lnTo>
                  <a:pt x="18" y="192"/>
                </a:lnTo>
                <a:lnTo>
                  <a:pt x="0" y="176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Freeform 301"/>
          <p:cNvSpPr>
            <a:spLocks/>
          </p:cNvSpPr>
          <p:nvPr/>
        </p:nvSpPr>
        <p:spPr bwMode="auto">
          <a:xfrm>
            <a:off x="3475507" y="3008196"/>
            <a:ext cx="371884" cy="315935"/>
          </a:xfrm>
          <a:custGeom>
            <a:avLst/>
            <a:gdLst>
              <a:gd name="T0" fmla="*/ 0 w 227"/>
              <a:gd name="T1" fmla="*/ 38100 h 192"/>
              <a:gd name="T2" fmla="*/ 0 w 227"/>
              <a:gd name="T3" fmla="*/ 38100 h 192"/>
              <a:gd name="T4" fmla="*/ 3161 w 227"/>
              <a:gd name="T5" fmla="*/ 35719 h 192"/>
              <a:gd name="T6" fmla="*/ 20547 w 227"/>
              <a:gd name="T7" fmla="*/ 35719 h 192"/>
              <a:gd name="T8" fmla="*/ 20547 w 227"/>
              <a:gd name="T9" fmla="*/ 28575 h 192"/>
              <a:gd name="T10" fmla="*/ 27659 w 227"/>
              <a:gd name="T11" fmla="*/ 26194 h 192"/>
              <a:gd name="T12" fmla="*/ 27659 w 227"/>
              <a:gd name="T13" fmla="*/ 9525 h 192"/>
              <a:gd name="T14" fmla="*/ 44254 w 227"/>
              <a:gd name="T15" fmla="*/ 9525 h 192"/>
              <a:gd name="T16" fmla="*/ 44254 w 227"/>
              <a:gd name="T17" fmla="*/ 3175 h 192"/>
              <a:gd name="T18" fmla="*/ 20547 w 227"/>
              <a:gd name="T19" fmla="*/ 0 h 192"/>
              <a:gd name="T20" fmla="*/ 17386 w 227"/>
              <a:gd name="T21" fmla="*/ 7144 h 192"/>
              <a:gd name="T22" fmla="*/ 13434 w 227"/>
              <a:gd name="T23" fmla="*/ 9525 h 192"/>
              <a:gd name="T24" fmla="*/ 10273 w 227"/>
              <a:gd name="T25" fmla="*/ 19050 h 192"/>
              <a:gd name="T26" fmla="*/ 0 w 227"/>
              <a:gd name="T27" fmla="*/ 31750 h 192"/>
              <a:gd name="T28" fmla="*/ 0 w 227"/>
              <a:gd name="T29" fmla="*/ 38100 h 19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27"/>
              <a:gd name="T46" fmla="*/ 0 h 192"/>
              <a:gd name="T47" fmla="*/ 227 w 227"/>
              <a:gd name="T48" fmla="*/ 192 h 19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27" h="192">
                <a:moveTo>
                  <a:pt x="0" y="192"/>
                </a:moveTo>
                <a:lnTo>
                  <a:pt x="0" y="192"/>
                </a:lnTo>
                <a:lnTo>
                  <a:pt x="18" y="177"/>
                </a:lnTo>
                <a:lnTo>
                  <a:pt x="106" y="177"/>
                </a:lnTo>
                <a:lnTo>
                  <a:pt x="106" y="144"/>
                </a:lnTo>
                <a:lnTo>
                  <a:pt x="140" y="129"/>
                </a:lnTo>
                <a:lnTo>
                  <a:pt x="140" y="48"/>
                </a:lnTo>
                <a:lnTo>
                  <a:pt x="227" y="48"/>
                </a:lnTo>
                <a:lnTo>
                  <a:pt x="227" y="16"/>
                </a:lnTo>
                <a:lnTo>
                  <a:pt x="106" y="0"/>
                </a:lnTo>
                <a:lnTo>
                  <a:pt x="89" y="33"/>
                </a:lnTo>
                <a:lnTo>
                  <a:pt x="69" y="48"/>
                </a:lnTo>
                <a:lnTo>
                  <a:pt x="52" y="96"/>
                </a:lnTo>
                <a:lnTo>
                  <a:pt x="0" y="160"/>
                </a:lnTo>
                <a:lnTo>
                  <a:pt x="0" y="192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8" name="Freeform 302"/>
          <p:cNvSpPr>
            <a:spLocks/>
          </p:cNvSpPr>
          <p:nvPr/>
        </p:nvSpPr>
        <p:spPr bwMode="auto">
          <a:xfrm>
            <a:off x="3472217" y="3636774"/>
            <a:ext cx="141514" cy="26328"/>
          </a:xfrm>
          <a:custGeom>
            <a:avLst/>
            <a:gdLst>
              <a:gd name="T0" fmla="*/ 0 w 87"/>
              <a:gd name="T1" fmla="*/ 3387 h 15"/>
              <a:gd name="T2" fmla="*/ 0 w 87"/>
              <a:gd name="T3" fmla="*/ 3387 h 15"/>
              <a:gd name="T4" fmla="*/ 3139 w 87"/>
              <a:gd name="T5" fmla="*/ 3387 h 15"/>
              <a:gd name="T6" fmla="*/ 10200 w 87"/>
              <a:gd name="T7" fmla="*/ 0 h 15"/>
              <a:gd name="T8" fmla="*/ 13339 w 87"/>
              <a:gd name="T9" fmla="*/ 3387 h 15"/>
              <a:gd name="T10" fmla="*/ 16477 w 87"/>
              <a:gd name="T11" fmla="*/ 0 h 15"/>
              <a:gd name="T12" fmla="*/ 10200 w 87"/>
              <a:gd name="T13" fmla="*/ 0 h 15"/>
              <a:gd name="T14" fmla="*/ 0 w 87"/>
              <a:gd name="T15" fmla="*/ 0 h 15"/>
              <a:gd name="T16" fmla="*/ 0 w 87"/>
              <a:gd name="T17" fmla="*/ 3387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7"/>
              <a:gd name="T28" fmla="*/ 0 h 15"/>
              <a:gd name="T29" fmla="*/ 87 w 87"/>
              <a:gd name="T30" fmla="*/ 15 h 1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7" h="15">
                <a:moveTo>
                  <a:pt x="0" y="15"/>
                </a:moveTo>
                <a:lnTo>
                  <a:pt x="0" y="15"/>
                </a:lnTo>
                <a:lnTo>
                  <a:pt x="18" y="15"/>
                </a:lnTo>
                <a:lnTo>
                  <a:pt x="52" y="0"/>
                </a:lnTo>
                <a:lnTo>
                  <a:pt x="69" y="15"/>
                </a:lnTo>
                <a:lnTo>
                  <a:pt x="87" y="0"/>
                </a:lnTo>
                <a:lnTo>
                  <a:pt x="52" y="0"/>
                </a:lnTo>
                <a:lnTo>
                  <a:pt x="0" y="0"/>
                </a:lnTo>
                <a:lnTo>
                  <a:pt x="0" y="15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Freeform 303"/>
          <p:cNvSpPr>
            <a:spLocks/>
          </p:cNvSpPr>
          <p:nvPr/>
        </p:nvSpPr>
        <p:spPr bwMode="auto">
          <a:xfrm>
            <a:off x="3472217" y="3689430"/>
            <a:ext cx="141514" cy="78984"/>
          </a:xfrm>
          <a:custGeom>
            <a:avLst/>
            <a:gdLst>
              <a:gd name="T0" fmla="*/ 10200 w 87"/>
              <a:gd name="T1" fmla="*/ 9525 h 48"/>
              <a:gd name="T2" fmla="*/ 10200 w 87"/>
              <a:gd name="T3" fmla="*/ 9525 h 48"/>
              <a:gd name="T4" fmla="*/ 16477 w 87"/>
              <a:gd name="T5" fmla="*/ 2381 h 48"/>
              <a:gd name="T6" fmla="*/ 16477 w 87"/>
              <a:gd name="T7" fmla="*/ 0 h 48"/>
              <a:gd name="T8" fmla="*/ 0 w 87"/>
              <a:gd name="T9" fmla="*/ 0 h 48"/>
              <a:gd name="T10" fmla="*/ 6277 w 87"/>
              <a:gd name="T11" fmla="*/ 2381 h 48"/>
              <a:gd name="T12" fmla="*/ 6277 w 87"/>
              <a:gd name="T13" fmla="*/ 5556 h 48"/>
              <a:gd name="T14" fmla="*/ 10200 w 87"/>
              <a:gd name="T15" fmla="*/ 9525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7"/>
              <a:gd name="T25" fmla="*/ 0 h 48"/>
              <a:gd name="T26" fmla="*/ 87 w 87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7" h="48">
                <a:moveTo>
                  <a:pt x="52" y="48"/>
                </a:moveTo>
                <a:lnTo>
                  <a:pt x="52" y="48"/>
                </a:lnTo>
                <a:lnTo>
                  <a:pt x="87" y="15"/>
                </a:lnTo>
                <a:lnTo>
                  <a:pt x="87" y="0"/>
                </a:lnTo>
                <a:lnTo>
                  <a:pt x="0" y="0"/>
                </a:lnTo>
                <a:lnTo>
                  <a:pt x="35" y="15"/>
                </a:lnTo>
                <a:lnTo>
                  <a:pt x="35" y="30"/>
                </a:lnTo>
                <a:lnTo>
                  <a:pt x="52" y="48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Freeform 304"/>
          <p:cNvSpPr>
            <a:spLocks/>
          </p:cNvSpPr>
          <p:nvPr/>
        </p:nvSpPr>
        <p:spPr bwMode="auto">
          <a:xfrm>
            <a:off x="3643349" y="3794742"/>
            <a:ext cx="118476" cy="131640"/>
          </a:xfrm>
          <a:custGeom>
            <a:avLst/>
            <a:gdLst>
              <a:gd name="T0" fmla="*/ 0 w 71"/>
              <a:gd name="T1" fmla="*/ 2352 h 81"/>
              <a:gd name="T2" fmla="*/ 0 w 71"/>
              <a:gd name="T3" fmla="*/ 2352 h 81"/>
              <a:gd name="T4" fmla="*/ 4025 w 71"/>
              <a:gd name="T5" fmla="*/ 0 h 81"/>
              <a:gd name="T6" fmla="*/ 7244 w 71"/>
              <a:gd name="T7" fmla="*/ 0 h 81"/>
              <a:gd name="T8" fmla="*/ 14489 w 71"/>
              <a:gd name="T9" fmla="*/ 6272 h 81"/>
              <a:gd name="T10" fmla="*/ 14489 w 71"/>
              <a:gd name="T11" fmla="*/ 9407 h 81"/>
              <a:gd name="T12" fmla="*/ 7244 w 71"/>
              <a:gd name="T13" fmla="*/ 15679 h 81"/>
              <a:gd name="T14" fmla="*/ 4025 w 71"/>
              <a:gd name="T15" fmla="*/ 11759 h 81"/>
              <a:gd name="T16" fmla="*/ 0 w 71"/>
              <a:gd name="T17" fmla="*/ 11759 h 81"/>
              <a:gd name="T18" fmla="*/ 0 w 71"/>
              <a:gd name="T19" fmla="*/ 2352 h 8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1"/>
              <a:gd name="T31" fmla="*/ 0 h 81"/>
              <a:gd name="T32" fmla="*/ 71 w 71"/>
              <a:gd name="T33" fmla="*/ 81 h 8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1" h="81">
                <a:moveTo>
                  <a:pt x="0" y="15"/>
                </a:moveTo>
                <a:lnTo>
                  <a:pt x="0" y="15"/>
                </a:lnTo>
                <a:lnTo>
                  <a:pt x="19" y="0"/>
                </a:lnTo>
                <a:lnTo>
                  <a:pt x="36" y="0"/>
                </a:lnTo>
                <a:lnTo>
                  <a:pt x="71" y="33"/>
                </a:lnTo>
                <a:lnTo>
                  <a:pt x="71" y="48"/>
                </a:lnTo>
                <a:lnTo>
                  <a:pt x="36" y="81"/>
                </a:lnTo>
                <a:lnTo>
                  <a:pt x="19" y="63"/>
                </a:lnTo>
                <a:lnTo>
                  <a:pt x="0" y="63"/>
                </a:lnTo>
                <a:lnTo>
                  <a:pt x="0" y="15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Freeform 305"/>
          <p:cNvSpPr>
            <a:spLocks/>
          </p:cNvSpPr>
          <p:nvPr/>
        </p:nvSpPr>
        <p:spPr bwMode="auto">
          <a:xfrm>
            <a:off x="3699295" y="3847398"/>
            <a:ext cx="204042" cy="184296"/>
          </a:xfrm>
          <a:custGeom>
            <a:avLst/>
            <a:gdLst>
              <a:gd name="T0" fmla="*/ 25816 w 122"/>
              <a:gd name="T1" fmla="*/ 22425 h 111"/>
              <a:gd name="T2" fmla="*/ 25816 w 122"/>
              <a:gd name="T3" fmla="*/ 22425 h 111"/>
              <a:gd name="T4" fmla="*/ 25816 w 122"/>
              <a:gd name="T5" fmla="*/ 16018 h 111"/>
              <a:gd name="T6" fmla="*/ 17749 w 122"/>
              <a:gd name="T7" fmla="*/ 12814 h 111"/>
              <a:gd name="T8" fmla="*/ 17749 w 122"/>
              <a:gd name="T9" fmla="*/ 6407 h 111"/>
              <a:gd name="T10" fmla="*/ 14522 w 122"/>
              <a:gd name="T11" fmla="*/ 6407 h 111"/>
              <a:gd name="T12" fmla="*/ 10488 w 122"/>
              <a:gd name="T13" fmla="*/ 0 h 111"/>
              <a:gd name="T14" fmla="*/ 7261 w 122"/>
              <a:gd name="T15" fmla="*/ 3204 h 111"/>
              <a:gd name="T16" fmla="*/ 0 w 122"/>
              <a:gd name="T17" fmla="*/ 9611 h 111"/>
              <a:gd name="T18" fmla="*/ 17749 w 122"/>
              <a:gd name="T19" fmla="*/ 22425 h 111"/>
              <a:gd name="T20" fmla="*/ 25816 w 122"/>
              <a:gd name="T21" fmla="*/ 22425 h 1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22"/>
              <a:gd name="T34" fmla="*/ 0 h 111"/>
              <a:gd name="T35" fmla="*/ 122 w 122"/>
              <a:gd name="T36" fmla="*/ 111 h 1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22" h="111">
                <a:moveTo>
                  <a:pt x="122" y="111"/>
                </a:moveTo>
                <a:lnTo>
                  <a:pt x="122" y="111"/>
                </a:lnTo>
                <a:lnTo>
                  <a:pt x="122" y="78"/>
                </a:lnTo>
                <a:lnTo>
                  <a:pt x="86" y="63"/>
                </a:lnTo>
                <a:lnTo>
                  <a:pt x="86" y="30"/>
                </a:lnTo>
                <a:lnTo>
                  <a:pt x="69" y="30"/>
                </a:lnTo>
                <a:lnTo>
                  <a:pt x="51" y="0"/>
                </a:lnTo>
                <a:lnTo>
                  <a:pt x="34" y="15"/>
                </a:lnTo>
                <a:lnTo>
                  <a:pt x="0" y="48"/>
                </a:lnTo>
                <a:lnTo>
                  <a:pt x="86" y="111"/>
                </a:lnTo>
                <a:lnTo>
                  <a:pt x="122" y="111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2" name="Freeform 306"/>
          <p:cNvSpPr>
            <a:spLocks/>
          </p:cNvSpPr>
          <p:nvPr/>
        </p:nvSpPr>
        <p:spPr bwMode="auto">
          <a:xfrm>
            <a:off x="3844098" y="3768415"/>
            <a:ext cx="286318" cy="263279"/>
          </a:xfrm>
          <a:custGeom>
            <a:avLst/>
            <a:gdLst>
              <a:gd name="T0" fmla="*/ 31135 w 173"/>
              <a:gd name="T1" fmla="*/ 28755 h 159"/>
              <a:gd name="T2" fmla="*/ 31135 w 173"/>
              <a:gd name="T3" fmla="*/ 28755 h 159"/>
              <a:gd name="T4" fmla="*/ 31135 w 173"/>
              <a:gd name="T5" fmla="*/ 19170 h 159"/>
              <a:gd name="T6" fmla="*/ 35127 w 173"/>
              <a:gd name="T7" fmla="*/ 12780 h 159"/>
              <a:gd name="T8" fmla="*/ 31135 w 173"/>
              <a:gd name="T9" fmla="*/ 6390 h 159"/>
              <a:gd name="T10" fmla="*/ 27942 w 173"/>
              <a:gd name="T11" fmla="*/ 3195 h 159"/>
              <a:gd name="T12" fmla="*/ 20757 w 173"/>
              <a:gd name="T13" fmla="*/ 3195 h 159"/>
              <a:gd name="T14" fmla="*/ 17564 w 173"/>
              <a:gd name="T15" fmla="*/ 0 h 159"/>
              <a:gd name="T16" fmla="*/ 14370 w 173"/>
              <a:gd name="T17" fmla="*/ 3195 h 159"/>
              <a:gd name="T18" fmla="*/ 10378 w 173"/>
              <a:gd name="T19" fmla="*/ 0 h 159"/>
              <a:gd name="T20" fmla="*/ 7185 w 173"/>
              <a:gd name="T21" fmla="*/ 3195 h 159"/>
              <a:gd name="T22" fmla="*/ 3992 w 173"/>
              <a:gd name="T23" fmla="*/ 3195 h 159"/>
              <a:gd name="T24" fmla="*/ 3992 w 173"/>
              <a:gd name="T25" fmla="*/ 6390 h 159"/>
              <a:gd name="T26" fmla="*/ 3992 w 173"/>
              <a:gd name="T27" fmla="*/ 9585 h 159"/>
              <a:gd name="T28" fmla="*/ 3992 w 173"/>
              <a:gd name="T29" fmla="*/ 12780 h 159"/>
              <a:gd name="T30" fmla="*/ 3992 w 173"/>
              <a:gd name="T31" fmla="*/ 15975 h 159"/>
              <a:gd name="T32" fmla="*/ 0 w 173"/>
              <a:gd name="T33" fmla="*/ 15975 h 159"/>
              <a:gd name="T34" fmla="*/ 0 w 173"/>
              <a:gd name="T35" fmla="*/ 22365 h 159"/>
              <a:gd name="T36" fmla="*/ 7185 w 173"/>
              <a:gd name="T37" fmla="*/ 25560 h 159"/>
              <a:gd name="T38" fmla="*/ 7185 w 173"/>
              <a:gd name="T39" fmla="*/ 31950 h 159"/>
              <a:gd name="T40" fmla="*/ 14370 w 173"/>
              <a:gd name="T41" fmla="*/ 28755 h 159"/>
              <a:gd name="T42" fmla="*/ 24749 w 173"/>
              <a:gd name="T43" fmla="*/ 28755 h 159"/>
              <a:gd name="T44" fmla="*/ 31135 w 173"/>
              <a:gd name="T45" fmla="*/ 28755 h 15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3"/>
              <a:gd name="T70" fmla="*/ 0 h 159"/>
              <a:gd name="T71" fmla="*/ 173 w 173"/>
              <a:gd name="T72" fmla="*/ 159 h 15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3" h="159">
                <a:moveTo>
                  <a:pt x="155" y="144"/>
                </a:moveTo>
                <a:lnTo>
                  <a:pt x="155" y="144"/>
                </a:lnTo>
                <a:lnTo>
                  <a:pt x="155" y="96"/>
                </a:lnTo>
                <a:lnTo>
                  <a:pt x="173" y="63"/>
                </a:lnTo>
                <a:lnTo>
                  <a:pt x="155" y="30"/>
                </a:lnTo>
                <a:lnTo>
                  <a:pt x="138" y="15"/>
                </a:lnTo>
                <a:lnTo>
                  <a:pt x="104" y="15"/>
                </a:lnTo>
                <a:lnTo>
                  <a:pt x="86" y="0"/>
                </a:lnTo>
                <a:lnTo>
                  <a:pt x="69" y="15"/>
                </a:lnTo>
                <a:lnTo>
                  <a:pt x="52" y="0"/>
                </a:lnTo>
                <a:lnTo>
                  <a:pt x="34" y="15"/>
                </a:lnTo>
                <a:lnTo>
                  <a:pt x="17" y="15"/>
                </a:lnTo>
                <a:lnTo>
                  <a:pt x="17" y="30"/>
                </a:lnTo>
                <a:lnTo>
                  <a:pt x="17" y="48"/>
                </a:lnTo>
                <a:lnTo>
                  <a:pt x="17" y="63"/>
                </a:lnTo>
                <a:lnTo>
                  <a:pt x="17" y="78"/>
                </a:lnTo>
                <a:lnTo>
                  <a:pt x="0" y="78"/>
                </a:lnTo>
                <a:lnTo>
                  <a:pt x="0" y="111"/>
                </a:lnTo>
                <a:lnTo>
                  <a:pt x="34" y="126"/>
                </a:lnTo>
                <a:lnTo>
                  <a:pt x="34" y="159"/>
                </a:lnTo>
                <a:lnTo>
                  <a:pt x="69" y="144"/>
                </a:lnTo>
                <a:lnTo>
                  <a:pt x="121" y="144"/>
                </a:lnTo>
                <a:lnTo>
                  <a:pt x="155" y="144"/>
                </a:lnTo>
                <a:close/>
              </a:path>
            </a:pathLst>
          </a:custGeom>
          <a:solidFill>
            <a:srgbClr val="BCDEC2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Freeform 307"/>
          <p:cNvSpPr>
            <a:spLocks/>
          </p:cNvSpPr>
          <p:nvPr/>
        </p:nvSpPr>
        <p:spPr bwMode="auto">
          <a:xfrm>
            <a:off x="3988902" y="3584120"/>
            <a:ext cx="338974" cy="236951"/>
          </a:xfrm>
          <a:custGeom>
            <a:avLst/>
            <a:gdLst>
              <a:gd name="T0" fmla="*/ 0 w 208"/>
              <a:gd name="T1" fmla="*/ 22225 h 144"/>
              <a:gd name="T2" fmla="*/ 0 w 208"/>
              <a:gd name="T3" fmla="*/ 22225 h 144"/>
              <a:gd name="T4" fmla="*/ 3144 w 208"/>
              <a:gd name="T5" fmla="*/ 19050 h 144"/>
              <a:gd name="T6" fmla="*/ 10220 w 208"/>
              <a:gd name="T7" fmla="*/ 9525 h 144"/>
              <a:gd name="T8" fmla="*/ 16509 w 208"/>
              <a:gd name="T9" fmla="*/ 7144 h 144"/>
              <a:gd name="T10" fmla="*/ 23584 w 208"/>
              <a:gd name="T11" fmla="*/ 0 h 144"/>
              <a:gd name="T12" fmla="*/ 29873 w 208"/>
              <a:gd name="T13" fmla="*/ 0 h 144"/>
              <a:gd name="T14" fmla="*/ 29873 w 208"/>
              <a:gd name="T15" fmla="*/ 7144 h 144"/>
              <a:gd name="T16" fmla="*/ 36948 w 208"/>
              <a:gd name="T17" fmla="*/ 13494 h 144"/>
              <a:gd name="T18" fmla="*/ 40092 w 208"/>
              <a:gd name="T19" fmla="*/ 13494 h 144"/>
              <a:gd name="T20" fmla="*/ 40092 w 208"/>
              <a:gd name="T21" fmla="*/ 15875 h 144"/>
              <a:gd name="T22" fmla="*/ 33803 w 208"/>
              <a:gd name="T23" fmla="*/ 19050 h 144"/>
              <a:gd name="T24" fmla="*/ 26728 w 208"/>
              <a:gd name="T25" fmla="*/ 19050 h 144"/>
              <a:gd name="T26" fmla="*/ 13364 w 208"/>
              <a:gd name="T27" fmla="*/ 19050 h 144"/>
              <a:gd name="T28" fmla="*/ 13364 w 208"/>
              <a:gd name="T29" fmla="*/ 22225 h 144"/>
              <a:gd name="T30" fmla="*/ 13364 w 208"/>
              <a:gd name="T31" fmla="*/ 28575 h 144"/>
              <a:gd name="T32" fmla="*/ 10220 w 208"/>
              <a:gd name="T33" fmla="*/ 26194 h 144"/>
              <a:gd name="T34" fmla="*/ 3144 w 208"/>
              <a:gd name="T35" fmla="*/ 26194 h 144"/>
              <a:gd name="T36" fmla="*/ 0 w 208"/>
              <a:gd name="T37" fmla="*/ 22225 h 14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08"/>
              <a:gd name="T58" fmla="*/ 0 h 144"/>
              <a:gd name="T59" fmla="*/ 208 w 208"/>
              <a:gd name="T60" fmla="*/ 144 h 14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08" h="144">
                <a:moveTo>
                  <a:pt x="0" y="114"/>
                </a:moveTo>
                <a:lnTo>
                  <a:pt x="0" y="114"/>
                </a:lnTo>
                <a:lnTo>
                  <a:pt x="18" y="96"/>
                </a:lnTo>
                <a:lnTo>
                  <a:pt x="52" y="48"/>
                </a:lnTo>
                <a:lnTo>
                  <a:pt x="87" y="33"/>
                </a:lnTo>
                <a:lnTo>
                  <a:pt x="121" y="0"/>
                </a:lnTo>
                <a:lnTo>
                  <a:pt x="156" y="0"/>
                </a:lnTo>
                <a:lnTo>
                  <a:pt x="156" y="33"/>
                </a:lnTo>
                <a:lnTo>
                  <a:pt x="190" y="66"/>
                </a:lnTo>
                <a:lnTo>
                  <a:pt x="208" y="66"/>
                </a:lnTo>
                <a:lnTo>
                  <a:pt x="208" y="81"/>
                </a:lnTo>
                <a:lnTo>
                  <a:pt x="173" y="96"/>
                </a:lnTo>
                <a:lnTo>
                  <a:pt x="138" y="96"/>
                </a:lnTo>
                <a:lnTo>
                  <a:pt x="69" y="96"/>
                </a:lnTo>
                <a:lnTo>
                  <a:pt x="69" y="114"/>
                </a:lnTo>
                <a:lnTo>
                  <a:pt x="69" y="144"/>
                </a:lnTo>
                <a:lnTo>
                  <a:pt x="52" y="129"/>
                </a:lnTo>
                <a:lnTo>
                  <a:pt x="18" y="129"/>
                </a:lnTo>
                <a:lnTo>
                  <a:pt x="0" y="114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Freeform 308"/>
          <p:cNvSpPr>
            <a:spLocks/>
          </p:cNvSpPr>
          <p:nvPr/>
        </p:nvSpPr>
        <p:spPr bwMode="auto">
          <a:xfrm>
            <a:off x="4215982" y="3742087"/>
            <a:ext cx="85566" cy="210623"/>
          </a:xfrm>
          <a:custGeom>
            <a:avLst/>
            <a:gdLst>
              <a:gd name="T0" fmla="*/ 7144 w 52"/>
              <a:gd name="T1" fmla="*/ 0 h 129"/>
              <a:gd name="T2" fmla="*/ 7144 w 52"/>
              <a:gd name="T3" fmla="*/ 0 h 129"/>
              <a:gd name="T4" fmla="*/ 0 w 52"/>
              <a:gd name="T5" fmla="*/ 0 h 129"/>
              <a:gd name="T6" fmla="*/ 3969 w 52"/>
              <a:gd name="T7" fmla="*/ 12602 h 129"/>
              <a:gd name="T8" fmla="*/ 7144 w 52"/>
              <a:gd name="T9" fmla="*/ 22053 h 129"/>
              <a:gd name="T10" fmla="*/ 7144 w 52"/>
              <a:gd name="T11" fmla="*/ 25203 h 129"/>
              <a:gd name="T12" fmla="*/ 10319 w 52"/>
              <a:gd name="T13" fmla="*/ 25203 h 129"/>
              <a:gd name="T14" fmla="*/ 10319 w 52"/>
              <a:gd name="T15" fmla="*/ 12602 h 129"/>
              <a:gd name="T16" fmla="*/ 10319 w 52"/>
              <a:gd name="T17" fmla="*/ 6301 h 129"/>
              <a:gd name="T18" fmla="*/ 7144 w 52"/>
              <a:gd name="T19" fmla="*/ 3150 h 129"/>
              <a:gd name="T20" fmla="*/ 7144 w 52"/>
              <a:gd name="T21" fmla="*/ 0 h 12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2"/>
              <a:gd name="T34" fmla="*/ 0 h 129"/>
              <a:gd name="T35" fmla="*/ 52 w 52"/>
              <a:gd name="T36" fmla="*/ 129 h 12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2" h="129">
                <a:moveTo>
                  <a:pt x="35" y="0"/>
                </a:moveTo>
                <a:lnTo>
                  <a:pt x="35" y="0"/>
                </a:lnTo>
                <a:lnTo>
                  <a:pt x="0" y="0"/>
                </a:lnTo>
                <a:lnTo>
                  <a:pt x="18" y="66"/>
                </a:lnTo>
                <a:lnTo>
                  <a:pt x="35" y="114"/>
                </a:lnTo>
                <a:lnTo>
                  <a:pt x="35" y="129"/>
                </a:lnTo>
                <a:lnTo>
                  <a:pt x="52" y="129"/>
                </a:lnTo>
                <a:lnTo>
                  <a:pt x="52" y="66"/>
                </a:lnTo>
                <a:lnTo>
                  <a:pt x="52" y="33"/>
                </a:lnTo>
                <a:lnTo>
                  <a:pt x="35" y="18"/>
                </a:lnTo>
                <a:lnTo>
                  <a:pt x="35" y="0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Freeform 309"/>
          <p:cNvSpPr>
            <a:spLocks/>
          </p:cNvSpPr>
          <p:nvPr/>
        </p:nvSpPr>
        <p:spPr bwMode="auto">
          <a:xfrm>
            <a:off x="4245601" y="3215527"/>
            <a:ext cx="717437" cy="500232"/>
          </a:xfrm>
          <a:custGeom>
            <a:avLst/>
            <a:gdLst>
              <a:gd name="T0" fmla="*/ 73025 w 436"/>
              <a:gd name="T1" fmla="*/ 50968 h 303"/>
              <a:gd name="T2" fmla="*/ 73025 w 436"/>
              <a:gd name="T3" fmla="*/ 50968 h 303"/>
              <a:gd name="T4" fmla="*/ 73025 w 436"/>
              <a:gd name="T5" fmla="*/ 47782 h 303"/>
              <a:gd name="T6" fmla="*/ 83344 w 436"/>
              <a:gd name="T7" fmla="*/ 35040 h 303"/>
              <a:gd name="T8" fmla="*/ 86519 w 436"/>
              <a:gd name="T9" fmla="*/ 15927 h 303"/>
              <a:gd name="T10" fmla="*/ 80169 w 436"/>
              <a:gd name="T11" fmla="*/ 9556 h 303"/>
              <a:gd name="T12" fmla="*/ 80169 w 436"/>
              <a:gd name="T13" fmla="*/ 3185 h 303"/>
              <a:gd name="T14" fmla="*/ 76200 w 436"/>
              <a:gd name="T15" fmla="*/ 0 h 303"/>
              <a:gd name="T16" fmla="*/ 62706 w 436"/>
              <a:gd name="T17" fmla="*/ 0 h 303"/>
              <a:gd name="T18" fmla="*/ 27781 w 436"/>
              <a:gd name="T19" fmla="*/ 22298 h 303"/>
              <a:gd name="T20" fmla="*/ 21431 w 436"/>
              <a:gd name="T21" fmla="*/ 22298 h 303"/>
              <a:gd name="T22" fmla="*/ 21431 w 436"/>
              <a:gd name="T23" fmla="*/ 38226 h 303"/>
              <a:gd name="T24" fmla="*/ 17463 w 436"/>
              <a:gd name="T25" fmla="*/ 41411 h 303"/>
              <a:gd name="T26" fmla="*/ 0 w 436"/>
              <a:gd name="T27" fmla="*/ 44597 h 303"/>
              <a:gd name="T28" fmla="*/ 0 w 436"/>
              <a:gd name="T29" fmla="*/ 50968 h 303"/>
              <a:gd name="T30" fmla="*/ 7144 w 436"/>
              <a:gd name="T31" fmla="*/ 57339 h 303"/>
              <a:gd name="T32" fmla="*/ 10319 w 436"/>
              <a:gd name="T33" fmla="*/ 57339 h 303"/>
              <a:gd name="T34" fmla="*/ 10319 w 436"/>
              <a:gd name="T35" fmla="*/ 60524 h 303"/>
              <a:gd name="T36" fmla="*/ 10319 w 436"/>
              <a:gd name="T37" fmla="*/ 57339 h 303"/>
              <a:gd name="T38" fmla="*/ 14288 w 436"/>
              <a:gd name="T39" fmla="*/ 57339 h 303"/>
              <a:gd name="T40" fmla="*/ 17463 w 436"/>
              <a:gd name="T41" fmla="*/ 60524 h 303"/>
              <a:gd name="T42" fmla="*/ 17463 w 436"/>
              <a:gd name="T43" fmla="*/ 57339 h 303"/>
              <a:gd name="T44" fmla="*/ 23812 w 436"/>
              <a:gd name="T45" fmla="*/ 50968 h 303"/>
              <a:gd name="T46" fmla="*/ 27781 w 436"/>
              <a:gd name="T47" fmla="*/ 50968 h 303"/>
              <a:gd name="T48" fmla="*/ 38100 w 436"/>
              <a:gd name="T49" fmla="*/ 54153 h 303"/>
              <a:gd name="T50" fmla="*/ 42069 w 436"/>
              <a:gd name="T51" fmla="*/ 54153 h 303"/>
              <a:gd name="T52" fmla="*/ 48419 w 436"/>
              <a:gd name="T53" fmla="*/ 57339 h 303"/>
              <a:gd name="T54" fmla="*/ 55563 w 436"/>
              <a:gd name="T55" fmla="*/ 54153 h 303"/>
              <a:gd name="T56" fmla="*/ 65881 w 436"/>
              <a:gd name="T57" fmla="*/ 54153 h 303"/>
              <a:gd name="T58" fmla="*/ 69850 w 436"/>
              <a:gd name="T59" fmla="*/ 50968 h 303"/>
              <a:gd name="T60" fmla="*/ 73025 w 436"/>
              <a:gd name="T61" fmla="*/ 50968 h 30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36"/>
              <a:gd name="T94" fmla="*/ 0 h 303"/>
              <a:gd name="T95" fmla="*/ 436 w 436"/>
              <a:gd name="T96" fmla="*/ 303 h 30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36" h="303">
                <a:moveTo>
                  <a:pt x="366" y="255"/>
                </a:moveTo>
                <a:lnTo>
                  <a:pt x="366" y="255"/>
                </a:lnTo>
                <a:lnTo>
                  <a:pt x="366" y="240"/>
                </a:lnTo>
                <a:lnTo>
                  <a:pt x="418" y="175"/>
                </a:lnTo>
                <a:lnTo>
                  <a:pt x="436" y="79"/>
                </a:lnTo>
                <a:lnTo>
                  <a:pt x="401" y="48"/>
                </a:lnTo>
                <a:lnTo>
                  <a:pt x="401" y="15"/>
                </a:lnTo>
                <a:lnTo>
                  <a:pt x="384" y="0"/>
                </a:lnTo>
                <a:lnTo>
                  <a:pt x="313" y="0"/>
                </a:lnTo>
                <a:lnTo>
                  <a:pt x="140" y="111"/>
                </a:lnTo>
                <a:lnTo>
                  <a:pt x="105" y="111"/>
                </a:lnTo>
                <a:lnTo>
                  <a:pt x="105" y="192"/>
                </a:lnTo>
                <a:lnTo>
                  <a:pt x="86" y="207"/>
                </a:lnTo>
                <a:lnTo>
                  <a:pt x="0" y="222"/>
                </a:lnTo>
                <a:lnTo>
                  <a:pt x="0" y="255"/>
                </a:lnTo>
                <a:lnTo>
                  <a:pt x="34" y="288"/>
                </a:lnTo>
                <a:lnTo>
                  <a:pt x="52" y="288"/>
                </a:lnTo>
                <a:lnTo>
                  <a:pt x="52" y="303"/>
                </a:lnTo>
                <a:lnTo>
                  <a:pt x="52" y="288"/>
                </a:lnTo>
                <a:lnTo>
                  <a:pt x="69" y="288"/>
                </a:lnTo>
                <a:lnTo>
                  <a:pt x="86" y="303"/>
                </a:lnTo>
                <a:lnTo>
                  <a:pt x="86" y="288"/>
                </a:lnTo>
                <a:lnTo>
                  <a:pt x="123" y="255"/>
                </a:lnTo>
                <a:lnTo>
                  <a:pt x="140" y="255"/>
                </a:lnTo>
                <a:lnTo>
                  <a:pt x="192" y="270"/>
                </a:lnTo>
                <a:lnTo>
                  <a:pt x="209" y="270"/>
                </a:lnTo>
                <a:lnTo>
                  <a:pt x="244" y="288"/>
                </a:lnTo>
                <a:lnTo>
                  <a:pt x="278" y="270"/>
                </a:lnTo>
                <a:lnTo>
                  <a:pt x="332" y="270"/>
                </a:lnTo>
                <a:lnTo>
                  <a:pt x="349" y="255"/>
                </a:lnTo>
                <a:lnTo>
                  <a:pt x="366" y="255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6" name="Freeform 310"/>
          <p:cNvSpPr>
            <a:spLocks/>
          </p:cNvSpPr>
          <p:nvPr/>
        </p:nvSpPr>
        <p:spPr bwMode="auto">
          <a:xfrm>
            <a:off x="3449179" y="3505135"/>
            <a:ext cx="283026" cy="184296"/>
          </a:xfrm>
          <a:custGeom>
            <a:avLst/>
            <a:gdLst>
              <a:gd name="T0" fmla="*/ 3157 w 173"/>
              <a:gd name="T1" fmla="*/ 18095 h 113"/>
              <a:gd name="T2" fmla="*/ 3157 w 173"/>
              <a:gd name="T3" fmla="*/ 18095 h 113"/>
              <a:gd name="T4" fmla="*/ 6313 w 173"/>
              <a:gd name="T5" fmla="*/ 18095 h 113"/>
              <a:gd name="T6" fmla="*/ 13416 w 173"/>
              <a:gd name="T7" fmla="*/ 15735 h 113"/>
              <a:gd name="T8" fmla="*/ 16572 w 173"/>
              <a:gd name="T9" fmla="*/ 18095 h 113"/>
              <a:gd name="T10" fmla="*/ 20518 w 173"/>
              <a:gd name="T11" fmla="*/ 15735 h 113"/>
              <a:gd name="T12" fmla="*/ 13416 w 173"/>
              <a:gd name="T13" fmla="*/ 15735 h 113"/>
              <a:gd name="T14" fmla="*/ 3157 w 173"/>
              <a:gd name="T15" fmla="*/ 15735 h 113"/>
              <a:gd name="T16" fmla="*/ 0 w 173"/>
              <a:gd name="T17" fmla="*/ 8654 h 113"/>
              <a:gd name="T18" fmla="*/ 3157 w 173"/>
              <a:gd name="T19" fmla="*/ 3147 h 113"/>
              <a:gd name="T20" fmla="*/ 6313 w 173"/>
              <a:gd name="T21" fmla="*/ 0 h 113"/>
              <a:gd name="T22" fmla="*/ 13416 w 173"/>
              <a:gd name="T23" fmla="*/ 0 h 113"/>
              <a:gd name="T24" fmla="*/ 23675 w 173"/>
              <a:gd name="T25" fmla="*/ 3147 h 113"/>
              <a:gd name="T26" fmla="*/ 26832 w 173"/>
              <a:gd name="T27" fmla="*/ 8654 h 113"/>
              <a:gd name="T28" fmla="*/ 33934 w 173"/>
              <a:gd name="T29" fmla="*/ 22028 h 113"/>
              <a:gd name="T30" fmla="*/ 20518 w 173"/>
              <a:gd name="T31" fmla="*/ 22028 h 113"/>
              <a:gd name="T32" fmla="*/ 3157 w 173"/>
              <a:gd name="T33" fmla="*/ 22028 h 113"/>
              <a:gd name="T34" fmla="*/ 3157 w 173"/>
              <a:gd name="T35" fmla="*/ 18095 h 11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3"/>
              <a:gd name="T55" fmla="*/ 0 h 113"/>
              <a:gd name="T56" fmla="*/ 173 w 173"/>
              <a:gd name="T57" fmla="*/ 113 h 11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3" h="113">
                <a:moveTo>
                  <a:pt x="17" y="95"/>
                </a:moveTo>
                <a:lnTo>
                  <a:pt x="17" y="95"/>
                </a:lnTo>
                <a:lnTo>
                  <a:pt x="35" y="95"/>
                </a:lnTo>
                <a:lnTo>
                  <a:pt x="69" y="80"/>
                </a:lnTo>
                <a:lnTo>
                  <a:pt x="86" y="95"/>
                </a:lnTo>
                <a:lnTo>
                  <a:pt x="104" y="80"/>
                </a:lnTo>
                <a:lnTo>
                  <a:pt x="69" y="80"/>
                </a:lnTo>
                <a:lnTo>
                  <a:pt x="17" y="80"/>
                </a:lnTo>
                <a:lnTo>
                  <a:pt x="0" y="47"/>
                </a:lnTo>
                <a:lnTo>
                  <a:pt x="17" y="17"/>
                </a:lnTo>
                <a:lnTo>
                  <a:pt x="35" y="0"/>
                </a:lnTo>
                <a:lnTo>
                  <a:pt x="69" y="0"/>
                </a:lnTo>
                <a:lnTo>
                  <a:pt x="121" y="17"/>
                </a:lnTo>
                <a:lnTo>
                  <a:pt x="138" y="47"/>
                </a:lnTo>
                <a:lnTo>
                  <a:pt x="173" y="113"/>
                </a:lnTo>
                <a:lnTo>
                  <a:pt x="104" y="113"/>
                </a:lnTo>
                <a:lnTo>
                  <a:pt x="17" y="113"/>
                </a:lnTo>
                <a:lnTo>
                  <a:pt x="17" y="95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Freeform 311"/>
          <p:cNvSpPr>
            <a:spLocks/>
          </p:cNvSpPr>
          <p:nvPr/>
        </p:nvSpPr>
        <p:spPr bwMode="auto">
          <a:xfrm>
            <a:off x="4104088" y="3742087"/>
            <a:ext cx="171132" cy="263279"/>
          </a:xfrm>
          <a:custGeom>
            <a:avLst/>
            <a:gdLst>
              <a:gd name="T0" fmla="*/ 0 w 104"/>
              <a:gd name="T1" fmla="*/ 9407 h 162"/>
              <a:gd name="T2" fmla="*/ 0 w 104"/>
              <a:gd name="T3" fmla="*/ 9407 h 162"/>
              <a:gd name="T4" fmla="*/ 0 w 104"/>
              <a:gd name="T5" fmla="*/ 3136 h 162"/>
              <a:gd name="T6" fmla="*/ 0 w 104"/>
              <a:gd name="T7" fmla="*/ 0 h 162"/>
              <a:gd name="T8" fmla="*/ 14288 w 104"/>
              <a:gd name="T9" fmla="*/ 0 h 162"/>
              <a:gd name="T10" fmla="*/ 17463 w 104"/>
              <a:gd name="T11" fmla="*/ 12543 h 162"/>
              <a:gd name="T12" fmla="*/ 20638 w 104"/>
              <a:gd name="T13" fmla="*/ 21951 h 162"/>
              <a:gd name="T14" fmla="*/ 20638 w 104"/>
              <a:gd name="T15" fmla="*/ 25086 h 162"/>
              <a:gd name="T16" fmla="*/ 3969 w 104"/>
              <a:gd name="T17" fmla="*/ 31358 h 162"/>
              <a:gd name="T18" fmla="*/ 0 w 104"/>
              <a:gd name="T19" fmla="*/ 31358 h 162"/>
              <a:gd name="T20" fmla="*/ 0 w 104"/>
              <a:gd name="T21" fmla="*/ 21951 h 162"/>
              <a:gd name="T22" fmla="*/ 3969 w 104"/>
              <a:gd name="T23" fmla="*/ 15679 h 162"/>
              <a:gd name="T24" fmla="*/ 0 w 104"/>
              <a:gd name="T25" fmla="*/ 9407 h 1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4"/>
              <a:gd name="T40" fmla="*/ 0 h 162"/>
              <a:gd name="T41" fmla="*/ 104 w 104"/>
              <a:gd name="T42" fmla="*/ 162 h 1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4" h="162">
                <a:moveTo>
                  <a:pt x="0" y="48"/>
                </a:moveTo>
                <a:lnTo>
                  <a:pt x="0" y="48"/>
                </a:lnTo>
                <a:lnTo>
                  <a:pt x="0" y="18"/>
                </a:lnTo>
                <a:lnTo>
                  <a:pt x="0" y="0"/>
                </a:lnTo>
                <a:lnTo>
                  <a:pt x="69" y="0"/>
                </a:lnTo>
                <a:lnTo>
                  <a:pt x="87" y="66"/>
                </a:lnTo>
                <a:lnTo>
                  <a:pt x="104" y="114"/>
                </a:lnTo>
                <a:lnTo>
                  <a:pt x="104" y="129"/>
                </a:lnTo>
                <a:lnTo>
                  <a:pt x="18" y="162"/>
                </a:lnTo>
                <a:lnTo>
                  <a:pt x="0" y="162"/>
                </a:lnTo>
                <a:lnTo>
                  <a:pt x="0" y="114"/>
                </a:lnTo>
                <a:lnTo>
                  <a:pt x="18" y="81"/>
                </a:lnTo>
                <a:lnTo>
                  <a:pt x="0" y="48"/>
                </a:lnTo>
                <a:close/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Freeform 313"/>
          <p:cNvSpPr>
            <a:spLocks/>
          </p:cNvSpPr>
          <p:nvPr/>
        </p:nvSpPr>
        <p:spPr bwMode="auto">
          <a:xfrm>
            <a:off x="4275220" y="3689431"/>
            <a:ext cx="115186" cy="263279"/>
          </a:xfrm>
          <a:custGeom>
            <a:avLst/>
            <a:gdLst>
              <a:gd name="T0" fmla="*/ 7247 w 69"/>
              <a:gd name="T1" fmla="*/ 3195 h 159"/>
              <a:gd name="T2" fmla="*/ 7247 w 69"/>
              <a:gd name="T3" fmla="*/ 3195 h 159"/>
              <a:gd name="T4" fmla="*/ 0 w 69"/>
              <a:gd name="T5" fmla="*/ 6390 h 159"/>
              <a:gd name="T6" fmla="*/ 0 w 69"/>
              <a:gd name="T7" fmla="*/ 9585 h 159"/>
              <a:gd name="T8" fmla="*/ 4026 w 69"/>
              <a:gd name="T9" fmla="*/ 12780 h 159"/>
              <a:gd name="T10" fmla="*/ 4026 w 69"/>
              <a:gd name="T11" fmla="*/ 19170 h 159"/>
              <a:gd name="T12" fmla="*/ 4026 w 69"/>
              <a:gd name="T13" fmla="*/ 31950 h 159"/>
              <a:gd name="T14" fmla="*/ 10468 w 69"/>
              <a:gd name="T15" fmla="*/ 31950 h 159"/>
              <a:gd name="T16" fmla="*/ 10468 w 69"/>
              <a:gd name="T17" fmla="*/ 22365 h 159"/>
              <a:gd name="T18" fmla="*/ 14495 w 69"/>
              <a:gd name="T19" fmla="*/ 9585 h 159"/>
              <a:gd name="T20" fmla="*/ 14495 w 69"/>
              <a:gd name="T21" fmla="*/ 3195 h 159"/>
              <a:gd name="T22" fmla="*/ 10468 w 69"/>
              <a:gd name="T23" fmla="*/ 0 h 159"/>
              <a:gd name="T24" fmla="*/ 7247 w 69"/>
              <a:gd name="T25" fmla="*/ 0 h 159"/>
              <a:gd name="T26" fmla="*/ 7247 w 69"/>
              <a:gd name="T27" fmla="*/ 3195 h 15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9"/>
              <a:gd name="T43" fmla="*/ 0 h 159"/>
              <a:gd name="T44" fmla="*/ 69 w 69"/>
              <a:gd name="T45" fmla="*/ 159 h 15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9" h="159">
                <a:moveTo>
                  <a:pt x="35" y="15"/>
                </a:moveTo>
                <a:lnTo>
                  <a:pt x="35" y="15"/>
                </a:lnTo>
                <a:lnTo>
                  <a:pt x="0" y="30"/>
                </a:lnTo>
                <a:lnTo>
                  <a:pt x="0" y="48"/>
                </a:lnTo>
                <a:lnTo>
                  <a:pt x="17" y="63"/>
                </a:lnTo>
                <a:lnTo>
                  <a:pt x="17" y="96"/>
                </a:lnTo>
                <a:lnTo>
                  <a:pt x="17" y="159"/>
                </a:lnTo>
                <a:lnTo>
                  <a:pt x="52" y="159"/>
                </a:lnTo>
                <a:lnTo>
                  <a:pt x="52" y="111"/>
                </a:lnTo>
                <a:lnTo>
                  <a:pt x="69" y="48"/>
                </a:lnTo>
                <a:lnTo>
                  <a:pt x="69" y="15"/>
                </a:lnTo>
                <a:lnTo>
                  <a:pt x="52" y="0"/>
                </a:lnTo>
                <a:lnTo>
                  <a:pt x="35" y="0"/>
                </a:lnTo>
                <a:lnTo>
                  <a:pt x="35" y="15"/>
                </a:lnTo>
              </a:path>
            </a:pathLst>
          </a:custGeom>
          <a:solidFill>
            <a:srgbClr val="E2E2E2"/>
          </a:solidFill>
          <a:ln w="9525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9" name="Freeform 314"/>
          <p:cNvSpPr>
            <a:spLocks/>
          </p:cNvSpPr>
          <p:nvPr/>
        </p:nvSpPr>
        <p:spPr bwMode="auto">
          <a:xfrm>
            <a:off x="3561072" y="3689431"/>
            <a:ext cx="312646" cy="210623"/>
          </a:xfrm>
          <a:custGeom>
            <a:avLst/>
            <a:gdLst>
              <a:gd name="T0" fmla="*/ 34925 w 190"/>
              <a:gd name="T1" fmla="*/ 26610 h 126"/>
              <a:gd name="T2" fmla="*/ 34925 w 190"/>
              <a:gd name="T3" fmla="*/ 26610 h 126"/>
              <a:gd name="T4" fmla="*/ 38100 w 190"/>
              <a:gd name="T5" fmla="*/ 26610 h 126"/>
              <a:gd name="T6" fmla="*/ 38100 w 190"/>
              <a:gd name="T7" fmla="*/ 22578 h 126"/>
              <a:gd name="T8" fmla="*/ 38100 w 190"/>
              <a:gd name="T9" fmla="*/ 20159 h 126"/>
              <a:gd name="T10" fmla="*/ 38100 w 190"/>
              <a:gd name="T11" fmla="*/ 16127 h 126"/>
              <a:gd name="T12" fmla="*/ 38100 w 190"/>
              <a:gd name="T13" fmla="*/ 12902 h 126"/>
              <a:gd name="T14" fmla="*/ 30956 w 190"/>
              <a:gd name="T15" fmla="*/ 0 h 126"/>
              <a:gd name="T16" fmla="*/ 23813 w 190"/>
              <a:gd name="T17" fmla="*/ 3225 h 126"/>
              <a:gd name="T18" fmla="*/ 17463 w 190"/>
              <a:gd name="T19" fmla="*/ 3225 h 126"/>
              <a:gd name="T20" fmla="*/ 20638 w 190"/>
              <a:gd name="T21" fmla="*/ 0 h 126"/>
              <a:gd name="T22" fmla="*/ 7144 w 190"/>
              <a:gd name="T23" fmla="*/ 0 h 126"/>
              <a:gd name="T24" fmla="*/ 7144 w 190"/>
              <a:gd name="T25" fmla="*/ 3225 h 126"/>
              <a:gd name="T26" fmla="*/ 0 w 190"/>
              <a:gd name="T27" fmla="*/ 9676 h 126"/>
              <a:gd name="T28" fmla="*/ 10319 w 190"/>
              <a:gd name="T29" fmla="*/ 16127 h 126"/>
              <a:gd name="T30" fmla="*/ 14288 w 190"/>
              <a:gd name="T31" fmla="*/ 12902 h 126"/>
              <a:gd name="T32" fmla="*/ 17463 w 190"/>
              <a:gd name="T33" fmla="*/ 12902 h 126"/>
              <a:gd name="T34" fmla="*/ 23813 w 190"/>
              <a:gd name="T35" fmla="*/ 20159 h 126"/>
              <a:gd name="T36" fmla="*/ 23813 w 190"/>
              <a:gd name="T37" fmla="*/ 22578 h 126"/>
              <a:gd name="T38" fmla="*/ 27781 w 190"/>
              <a:gd name="T39" fmla="*/ 20159 h 126"/>
              <a:gd name="T40" fmla="*/ 30956 w 190"/>
              <a:gd name="T41" fmla="*/ 26610 h 126"/>
              <a:gd name="T42" fmla="*/ 34925 w 190"/>
              <a:gd name="T43" fmla="*/ 26610 h 12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90"/>
              <a:gd name="T67" fmla="*/ 0 h 126"/>
              <a:gd name="T68" fmla="*/ 190 w 190"/>
              <a:gd name="T69" fmla="*/ 126 h 12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90" h="126">
                <a:moveTo>
                  <a:pt x="173" y="126"/>
                </a:moveTo>
                <a:lnTo>
                  <a:pt x="173" y="126"/>
                </a:lnTo>
                <a:lnTo>
                  <a:pt x="190" y="126"/>
                </a:lnTo>
                <a:lnTo>
                  <a:pt x="190" y="111"/>
                </a:lnTo>
                <a:lnTo>
                  <a:pt x="190" y="96"/>
                </a:lnTo>
                <a:lnTo>
                  <a:pt x="190" y="78"/>
                </a:lnTo>
                <a:lnTo>
                  <a:pt x="190" y="63"/>
                </a:lnTo>
                <a:lnTo>
                  <a:pt x="156" y="0"/>
                </a:lnTo>
                <a:lnTo>
                  <a:pt x="121" y="15"/>
                </a:lnTo>
                <a:lnTo>
                  <a:pt x="87" y="15"/>
                </a:lnTo>
                <a:lnTo>
                  <a:pt x="104" y="0"/>
                </a:lnTo>
                <a:lnTo>
                  <a:pt x="35" y="0"/>
                </a:lnTo>
                <a:lnTo>
                  <a:pt x="35" y="15"/>
                </a:lnTo>
                <a:lnTo>
                  <a:pt x="0" y="48"/>
                </a:lnTo>
                <a:lnTo>
                  <a:pt x="52" y="78"/>
                </a:lnTo>
                <a:lnTo>
                  <a:pt x="69" y="63"/>
                </a:lnTo>
                <a:lnTo>
                  <a:pt x="87" y="63"/>
                </a:lnTo>
                <a:lnTo>
                  <a:pt x="121" y="96"/>
                </a:lnTo>
                <a:lnTo>
                  <a:pt x="121" y="111"/>
                </a:lnTo>
                <a:lnTo>
                  <a:pt x="138" y="96"/>
                </a:lnTo>
                <a:lnTo>
                  <a:pt x="156" y="126"/>
                </a:lnTo>
                <a:lnTo>
                  <a:pt x="173" y="126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Freeform 315"/>
          <p:cNvSpPr>
            <a:spLocks/>
          </p:cNvSpPr>
          <p:nvPr/>
        </p:nvSpPr>
        <p:spPr bwMode="auto">
          <a:xfrm>
            <a:off x="7302936" y="2534284"/>
            <a:ext cx="1306527" cy="1339440"/>
          </a:xfrm>
          <a:custGeom>
            <a:avLst/>
            <a:gdLst>
              <a:gd name="connsiteX0" fmla="*/ 9144 w 10000"/>
              <a:gd name="connsiteY0" fmla="*/ 3307 h 10599"/>
              <a:gd name="connsiteX1" fmla="*/ 9144 w 10000"/>
              <a:gd name="connsiteY1" fmla="*/ 3307 h 10599"/>
              <a:gd name="connsiteX2" fmla="*/ 9572 w 10000"/>
              <a:gd name="connsiteY2" fmla="*/ 3307 h 10599"/>
              <a:gd name="connsiteX3" fmla="*/ 10000 w 10000"/>
              <a:gd name="connsiteY3" fmla="*/ 3724 h 10599"/>
              <a:gd name="connsiteX4" fmla="*/ 10000 w 10000"/>
              <a:gd name="connsiteY4" fmla="*/ 4167 h 10599"/>
              <a:gd name="connsiteX5" fmla="*/ 9572 w 10000"/>
              <a:gd name="connsiteY5" fmla="*/ 4167 h 10599"/>
              <a:gd name="connsiteX6" fmla="*/ 9345 w 10000"/>
              <a:gd name="connsiteY6" fmla="*/ 4349 h 10599"/>
              <a:gd name="connsiteX7" fmla="*/ 8917 w 10000"/>
              <a:gd name="connsiteY7" fmla="*/ 5182 h 10599"/>
              <a:gd name="connsiteX8" fmla="*/ 8690 w 10000"/>
              <a:gd name="connsiteY8" fmla="*/ 5417 h 10599"/>
              <a:gd name="connsiteX9" fmla="*/ 8489 w 10000"/>
              <a:gd name="connsiteY9" fmla="*/ 5807 h 10599"/>
              <a:gd name="connsiteX10" fmla="*/ 8489 w 10000"/>
              <a:gd name="connsiteY10" fmla="*/ 6042 h 10599"/>
              <a:gd name="connsiteX11" fmla="*/ 8262 w 10000"/>
              <a:gd name="connsiteY11" fmla="*/ 5417 h 10599"/>
              <a:gd name="connsiteX12" fmla="*/ 8262 w 10000"/>
              <a:gd name="connsiteY12" fmla="*/ 5182 h 10599"/>
              <a:gd name="connsiteX13" fmla="*/ 8035 w 10000"/>
              <a:gd name="connsiteY13" fmla="*/ 5417 h 10599"/>
              <a:gd name="connsiteX14" fmla="*/ 7834 w 10000"/>
              <a:gd name="connsiteY14" fmla="*/ 5417 h 10599"/>
              <a:gd name="connsiteX15" fmla="*/ 7834 w 10000"/>
              <a:gd name="connsiteY15" fmla="*/ 5182 h 10599"/>
              <a:gd name="connsiteX16" fmla="*/ 8262 w 10000"/>
              <a:gd name="connsiteY16" fmla="*/ 4792 h 10599"/>
              <a:gd name="connsiteX17" fmla="*/ 7406 w 10000"/>
              <a:gd name="connsiteY17" fmla="*/ 4792 h 10599"/>
              <a:gd name="connsiteX18" fmla="*/ 7406 w 10000"/>
              <a:gd name="connsiteY18" fmla="*/ 4349 h 10599"/>
              <a:gd name="connsiteX19" fmla="*/ 7179 w 10000"/>
              <a:gd name="connsiteY19" fmla="*/ 4349 h 10599"/>
              <a:gd name="connsiteX20" fmla="*/ 6952 w 10000"/>
              <a:gd name="connsiteY20" fmla="*/ 4349 h 10599"/>
              <a:gd name="connsiteX21" fmla="*/ 6952 w 10000"/>
              <a:gd name="connsiteY21" fmla="*/ 4557 h 10599"/>
              <a:gd name="connsiteX22" fmla="*/ 6751 w 10000"/>
              <a:gd name="connsiteY22" fmla="*/ 4974 h 10599"/>
              <a:gd name="connsiteX23" fmla="*/ 6952 w 10000"/>
              <a:gd name="connsiteY23" fmla="*/ 4974 h 10599"/>
              <a:gd name="connsiteX24" fmla="*/ 7179 w 10000"/>
              <a:gd name="connsiteY24" fmla="*/ 6042 h 10599"/>
              <a:gd name="connsiteX25" fmla="*/ 6952 w 10000"/>
              <a:gd name="connsiteY25" fmla="*/ 6042 h 10599"/>
              <a:gd name="connsiteX26" fmla="*/ 6952 w 10000"/>
              <a:gd name="connsiteY26" fmla="*/ 5807 h 10599"/>
              <a:gd name="connsiteX27" fmla="*/ 6524 w 10000"/>
              <a:gd name="connsiteY27" fmla="*/ 6042 h 10599"/>
              <a:gd name="connsiteX28" fmla="*/ 6297 w 10000"/>
              <a:gd name="connsiteY28" fmla="*/ 6667 h 10599"/>
              <a:gd name="connsiteX29" fmla="*/ 5869 w 10000"/>
              <a:gd name="connsiteY29" fmla="*/ 6849 h 10599"/>
              <a:gd name="connsiteX30" fmla="*/ 4786 w 10000"/>
              <a:gd name="connsiteY30" fmla="*/ 7682 h 10599"/>
              <a:gd name="connsiteX31" fmla="*/ 4786 w 10000"/>
              <a:gd name="connsiteY31" fmla="*/ 7917 h 10599"/>
              <a:gd name="connsiteX32" fmla="*/ 4559 w 10000"/>
              <a:gd name="connsiteY32" fmla="*/ 7917 h 10599"/>
              <a:gd name="connsiteX33" fmla="*/ 4358 w 10000"/>
              <a:gd name="connsiteY33" fmla="*/ 8099 h 10599"/>
              <a:gd name="connsiteX34" fmla="*/ 4131 w 10000"/>
              <a:gd name="connsiteY34" fmla="*/ 8099 h 10599"/>
              <a:gd name="connsiteX35" fmla="*/ 4131 w 10000"/>
              <a:gd name="connsiteY35" fmla="*/ 8307 h 10599"/>
              <a:gd name="connsiteX36" fmla="*/ 4131 w 10000"/>
              <a:gd name="connsiteY36" fmla="*/ 8932 h 10599"/>
              <a:gd name="connsiteX37" fmla="*/ 3904 w 10000"/>
              <a:gd name="connsiteY37" fmla="*/ 9349 h 10599"/>
              <a:gd name="connsiteX38" fmla="*/ 3904 w 10000"/>
              <a:gd name="connsiteY38" fmla="*/ 9974 h 10599"/>
              <a:gd name="connsiteX39" fmla="*/ 3703 w 10000"/>
              <a:gd name="connsiteY39" fmla="*/ 10182 h 10599"/>
              <a:gd name="connsiteX40" fmla="*/ 3476 w 10000"/>
              <a:gd name="connsiteY40" fmla="*/ 10417 h 10599"/>
              <a:gd name="connsiteX41" fmla="*/ 3249 w 10000"/>
              <a:gd name="connsiteY41" fmla="*/ 10599 h 10599"/>
              <a:gd name="connsiteX42" fmla="*/ 2821 w 10000"/>
              <a:gd name="connsiteY42" fmla="*/ 10417 h 10599"/>
              <a:gd name="connsiteX43" fmla="*/ 2166 w 10000"/>
              <a:gd name="connsiteY43" fmla="*/ 8542 h 10599"/>
              <a:gd name="connsiteX44" fmla="*/ 1738 w 10000"/>
              <a:gd name="connsiteY44" fmla="*/ 7917 h 10599"/>
              <a:gd name="connsiteX45" fmla="*/ 1511 w 10000"/>
              <a:gd name="connsiteY45" fmla="*/ 6667 h 10599"/>
              <a:gd name="connsiteX46" fmla="*/ 1511 w 10000"/>
              <a:gd name="connsiteY46" fmla="*/ 5807 h 10599"/>
              <a:gd name="connsiteX47" fmla="*/ 1310 w 10000"/>
              <a:gd name="connsiteY47" fmla="*/ 6224 h 10599"/>
              <a:gd name="connsiteX48" fmla="*/ 856 w 10000"/>
              <a:gd name="connsiteY48" fmla="*/ 6432 h 10599"/>
              <a:gd name="connsiteX49" fmla="*/ 202 w 10000"/>
              <a:gd name="connsiteY49" fmla="*/ 5807 h 10599"/>
              <a:gd name="connsiteX50" fmla="*/ 655 w 10000"/>
              <a:gd name="connsiteY50" fmla="*/ 5807 h 10599"/>
              <a:gd name="connsiteX51" fmla="*/ 655 w 10000"/>
              <a:gd name="connsiteY51" fmla="*/ 5599 h 10599"/>
              <a:gd name="connsiteX52" fmla="*/ 428 w 10000"/>
              <a:gd name="connsiteY52" fmla="*/ 5599 h 10599"/>
              <a:gd name="connsiteX53" fmla="*/ 0 w 10000"/>
              <a:gd name="connsiteY53" fmla="*/ 5417 h 10599"/>
              <a:gd name="connsiteX54" fmla="*/ 202 w 10000"/>
              <a:gd name="connsiteY54" fmla="*/ 5182 h 10599"/>
              <a:gd name="connsiteX55" fmla="*/ 856 w 10000"/>
              <a:gd name="connsiteY55" fmla="*/ 5182 h 10599"/>
              <a:gd name="connsiteX56" fmla="*/ 856 w 10000"/>
              <a:gd name="connsiteY56" fmla="*/ 4974 h 10599"/>
              <a:gd name="connsiteX57" fmla="*/ 856 w 10000"/>
              <a:gd name="connsiteY57" fmla="*/ 4557 h 10599"/>
              <a:gd name="connsiteX58" fmla="*/ 655 w 10000"/>
              <a:gd name="connsiteY58" fmla="*/ 4557 h 10599"/>
              <a:gd name="connsiteX59" fmla="*/ 655 w 10000"/>
              <a:gd name="connsiteY59" fmla="*/ 4349 h 10599"/>
              <a:gd name="connsiteX60" fmla="*/ 428 w 10000"/>
              <a:gd name="connsiteY60" fmla="*/ 4349 h 10599"/>
              <a:gd name="connsiteX61" fmla="*/ 428 w 10000"/>
              <a:gd name="connsiteY61" fmla="*/ 3932 h 10599"/>
              <a:gd name="connsiteX62" fmla="*/ 655 w 10000"/>
              <a:gd name="connsiteY62" fmla="*/ 3724 h 10599"/>
              <a:gd name="connsiteX63" fmla="*/ 856 w 10000"/>
              <a:gd name="connsiteY63" fmla="*/ 3932 h 10599"/>
              <a:gd name="connsiteX64" fmla="*/ 1310 w 10000"/>
              <a:gd name="connsiteY64" fmla="*/ 3724 h 10599"/>
              <a:gd name="connsiteX65" fmla="*/ 2393 w 10000"/>
              <a:gd name="connsiteY65" fmla="*/ 2474 h 10599"/>
              <a:gd name="connsiteX66" fmla="*/ 2166 w 10000"/>
              <a:gd name="connsiteY66" fmla="*/ 2292 h 10599"/>
              <a:gd name="connsiteX67" fmla="*/ 2393 w 10000"/>
              <a:gd name="connsiteY67" fmla="*/ 2292 h 10599"/>
              <a:gd name="connsiteX68" fmla="*/ 2393 w 10000"/>
              <a:gd name="connsiteY68" fmla="*/ 2057 h 10599"/>
              <a:gd name="connsiteX69" fmla="*/ 1965 w 10000"/>
              <a:gd name="connsiteY69" fmla="*/ 1849 h 10599"/>
              <a:gd name="connsiteX70" fmla="*/ 2166 w 10000"/>
              <a:gd name="connsiteY70" fmla="*/ 1432 h 10599"/>
              <a:gd name="connsiteX71" fmla="*/ 1965 w 10000"/>
              <a:gd name="connsiteY71" fmla="*/ 1224 h 10599"/>
              <a:gd name="connsiteX72" fmla="*/ 1940 w 10000"/>
              <a:gd name="connsiteY72" fmla="*/ 417 h 10599"/>
              <a:gd name="connsiteX73" fmla="*/ 2596 w 10000"/>
              <a:gd name="connsiteY73" fmla="*/ 0 h 10599"/>
              <a:gd name="connsiteX74" fmla="*/ 3249 w 10000"/>
              <a:gd name="connsiteY74" fmla="*/ 807 h 10599"/>
              <a:gd name="connsiteX75" fmla="*/ 3904 w 10000"/>
              <a:gd name="connsiteY75" fmla="*/ 599 h 10599"/>
              <a:gd name="connsiteX76" fmla="*/ 4131 w 10000"/>
              <a:gd name="connsiteY76" fmla="*/ 807 h 10599"/>
              <a:gd name="connsiteX77" fmla="*/ 4131 w 10000"/>
              <a:gd name="connsiteY77" fmla="*/ 1224 h 10599"/>
              <a:gd name="connsiteX78" fmla="*/ 3703 w 10000"/>
              <a:gd name="connsiteY78" fmla="*/ 1667 h 10599"/>
              <a:gd name="connsiteX79" fmla="*/ 3904 w 10000"/>
              <a:gd name="connsiteY79" fmla="*/ 2057 h 10599"/>
              <a:gd name="connsiteX80" fmla="*/ 3476 w 10000"/>
              <a:gd name="connsiteY80" fmla="*/ 2057 h 10599"/>
              <a:gd name="connsiteX81" fmla="*/ 3703 w 10000"/>
              <a:gd name="connsiteY81" fmla="*/ 2682 h 10599"/>
              <a:gd name="connsiteX82" fmla="*/ 4358 w 10000"/>
              <a:gd name="connsiteY82" fmla="*/ 2917 h 10599"/>
              <a:gd name="connsiteX83" fmla="*/ 4131 w 10000"/>
              <a:gd name="connsiteY83" fmla="*/ 3542 h 10599"/>
              <a:gd name="connsiteX84" fmla="*/ 4559 w 10000"/>
              <a:gd name="connsiteY84" fmla="*/ 3724 h 10599"/>
              <a:gd name="connsiteX85" fmla="*/ 6524 w 10000"/>
              <a:gd name="connsiteY85" fmla="*/ 4349 h 10599"/>
              <a:gd name="connsiteX86" fmla="*/ 6751 w 10000"/>
              <a:gd name="connsiteY86" fmla="*/ 4349 h 10599"/>
              <a:gd name="connsiteX87" fmla="*/ 6751 w 10000"/>
              <a:gd name="connsiteY87" fmla="*/ 4167 h 10599"/>
              <a:gd name="connsiteX88" fmla="*/ 6751 w 10000"/>
              <a:gd name="connsiteY88" fmla="*/ 3724 h 10599"/>
              <a:gd name="connsiteX89" fmla="*/ 6952 w 10000"/>
              <a:gd name="connsiteY89" fmla="*/ 3724 h 10599"/>
              <a:gd name="connsiteX90" fmla="*/ 7179 w 10000"/>
              <a:gd name="connsiteY90" fmla="*/ 3932 h 10599"/>
              <a:gd name="connsiteX91" fmla="*/ 7179 w 10000"/>
              <a:gd name="connsiteY91" fmla="*/ 4167 h 10599"/>
              <a:gd name="connsiteX92" fmla="*/ 8035 w 10000"/>
              <a:gd name="connsiteY92" fmla="*/ 4167 h 10599"/>
              <a:gd name="connsiteX93" fmla="*/ 8262 w 10000"/>
              <a:gd name="connsiteY93" fmla="*/ 4167 h 10599"/>
              <a:gd name="connsiteX94" fmla="*/ 8035 w 10000"/>
              <a:gd name="connsiteY94" fmla="*/ 3724 h 10599"/>
              <a:gd name="connsiteX95" fmla="*/ 9144 w 10000"/>
              <a:gd name="connsiteY95" fmla="*/ 3307 h 10599"/>
              <a:gd name="connsiteX0" fmla="*/ 9144 w 10000"/>
              <a:gd name="connsiteY0" fmla="*/ 3307 h 10599"/>
              <a:gd name="connsiteX1" fmla="*/ 9144 w 10000"/>
              <a:gd name="connsiteY1" fmla="*/ 3307 h 10599"/>
              <a:gd name="connsiteX2" fmla="*/ 9572 w 10000"/>
              <a:gd name="connsiteY2" fmla="*/ 3307 h 10599"/>
              <a:gd name="connsiteX3" fmla="*/ 10000 w 10000"/>
              <a:gd name="connsiteY3" fmla="*/ 3724 h 10599"/>
              <a:gd name="connsiteX4" fmla="*/ 10000 w 10000"/>
              <a:gd name="connsiteY4" fmla="*/ 4167 h 10599"/>
              <a:gd name="connsiteX5" fmla="*/ 9572 w 10000"/>
              <a:gd name="connsiteY5" fmla="*/ 4167 h 10599"/>
              <a:gd name="connsiteX6" fmla="*/ 9345 w 10000"/>
              <a:gd name="connsiteY6" fmla="*/ 4349 h 10599"/>
              <a:gd name="connsiteX7" fmla="*/ 8917 w 10000"/>
              <a:gd name="connsiteY7" fmla="*/ 5182 h 10599"/>
              <a:gd name="connsiteX8" fmla="*/ 8690 w 10000"/>
              <a:gd name="connsiteY8" fmla="*/ 5417 h 10599"/>
              <a:gd name="connsiteX9" fmla="*/ 8489 w 10000"/>
              <a:gd name="connsiteY9" fmla="*/ 5807 h 10599"/>
              <a:gd name="connsiteX10" fmla="*/ 8489 w 10000"/>
              <a:gd name="connsiteY10" fmla="*/ 6042 h 10599"/>
              <a:gd name="connsiteX11" fmla="*/ 8262 w 10000"/>
              <a:gd name="connsiteY11" fmla="*/ 5417 h 10599"/>
              <a:gd name="connsiteX12" fmla="*/ 8262 w 10000"/>
              <a:gd name="connsiteY12" fmla="*/ 5182 h 10599"/>
              <a:gd name="connsiteX13" fmla="*/ 8035 w 10000"/>
              <a:gd name="connsiteY13" fmla="*/ 5417 h 10599"/>
              <a:gd name="connsiteX14" fmla="*/ 7834 w 10000"/>
              <a:gd name="connsiteY14" fmla="*/ 5417 h 10599"/>
              <a:gd name="connsiteX15" fmla="*/ 7834 w 10000"/>
              <a:gd name="connsiteY15" fmla="*/ 5182 h 10599"/>
              <a:gd name="connsiteX16" fmla="*/ 8262 w 10000"/>
              <a:gd name="connsiteY16" fmla="*/ 4792 h 10599"/>
              <a:gd name="connsiteX17" fmla="*/ 7406 w 10000"/>
              <a:gd name="connsiteY17" fmla="*/ 4792 h 10599"/>
              <a:gd name="connsiteX18" fmla="*/ 7406 w 10000"/>
              <a:gd name="connsiteY18" fmla="*/ 4349 h 10599"/>
              <a:gd name="connsiteX19" fmla="*/ 7179 w 10000"/>
              <a:gd name="connsiteY19" fmla="*/ 4349 h 10599"/>
              <a:gd name="connsiteX20" fmla="*/ 6952 w 10000"/>
              <a:gd name="connsiteY20" fmla="*/ 4349 h 10599"/>
              <a:gd name="connsiteX21" fmla="*/ 6952 w 10000"/>
              <a:gd name="connsiteY21" fmla="*/ 4557 h 10599"/>
              <a:gd name="connsiteX22" fmla="*/ 6751 w 10000"/>
              <a:gd name="connsiteY22" fmla="*/ 4974 h 10599"/>
              <a:gd name="connsiteX23" fmla="*/ 6952 w 10000"/>
              <a:gd name="connsiteY23" fmla="*/ 4974 h 10599"/>
              <a:gd name="connsiteX24" fmla="*/ 7179 w 10000"/>
              <a:gd name="connsiteY24" fmla="*/ 6042 h 10599"/>
              <a:gd name="connsiteX25" fmla="*/ 6952 w 10000"/>
              <a:gd name="connsiteY25" fmla="*/ 6042 h 10599"/>
              <a:gd name="connsiteX26" fmla="*/ 6952 w 10000"/>
              <a:gd name="connsiteY26" fmla="*/ 5807 h 10599"/>
              <a:gd name="connsiteX27" fmla="*/ 6524 w 10000"/>
              <a:gd name="connsiteY27" fmla="*/ 6042 h 10599"/>
              <a:gd name="connsiteX28" fmla="*/ 6297 w 10000"/>
              <a:gd name="connsiteY28" fmla="*/ 6667 h 10599"/>
              <a:gd name="connsiteX29" fmla="*/ 5869 w 10000"/>
              <a:gd name="connsiteY29" fmla="*/ 6849 h 10599"/>
              <a:gd name="connsiteX30" fmla="*/ 4786 w 10000"/>
              <a:gd name="connsiteY30" fmla="*/ 7682 h 10599"/>
              <a:gd name="connsiteX31" fmla="*/ 4786 w 10000"/>
              <a:gd name="connsiteY31" fmla="*/ 7917 h 10599"/>
              <a:gd name="connsiteX32" fmla="*/ 4559 w 10000"/>
              <a:gd name="connsiteY32" fmla="*/ 7917 h 10599"/>
              <a:gd name="connsiteX33" fmla="*/ 4358 w 10000"/>
              <a:gd name="connsiteY33" fmla="*/ 8099 h 10599"/>
              <a:gd name="connsiteX34" fmla="*/ 4131 w 10000"/>
              <a:gd name="connsiteY34" fmla="*/ 8099 h 10599"/>
              <a:gd name="connsiteX35" fmla="*/ 4131 w 10000"/>
              <a:gd name="connsiteY35" fmla="*/ 8307 h 10599"/>
              <a:gd name="connsiteX36" fmla="*/ 4131 w 10000"/>
              <a:gd name="connsiteY36" fmla="*/ 8932 h 10599"/>
              <a:gd name="connsiteX37" fmla="*/ 3904 w 10000"/>
              <a:gd name="connsiteY37" fmla="*/ 9349 h 10599"/>
              <a:gd name="connsiteX38" fmla="*/ 3904 w 10000"/>
              <a:gd name="connsiteY38" fmla="*/ 9974 h 10599"/>
              <a:gd name="connsiteX39" fmla="*/ 3703 w 10000"/>
              <a:gd name="connsiteY39" fmla="*/ 10182 h 10599"/>
              <a:gd name="connsiteX40" fmla="*/ 3476 w 10000"/>
              <a:gd name="connsiteY40" fmla="*/ 10417 h 10599"/>
              <a:gd name="connsiteX41" fmla="*/ 3249 w 10000"/>
              <a:gd name="connsiteY41" fmla="*/ 10599 h 10599"/>
              <a:gd name="connsiteX42" fmla="*/ 2821 w 10000"/>
              <a:gd name="connsiteY42" fmla="*/ 10417 h 10599"/>
              <a:gd name="connsiteX43" fmla="*/ 2166 w 10000"/>
              <a:gd name="connsiteY43" fmla="*/ 8542 h 10599"/>
              <a:gd name="connsiteX44" fmla="*/ 1738 w 10000"/>
              <a:gd name="connsiteY44" fmla="*/ 7917 h 10599"/>
              <a:gd name="connsiteX45" fmla="*/ 1511 w 10000"/>
              <a:gd name="connsiteY45" fmla="*/ 6667 h 10599"/>
              <a:gd name="connsiteX46" fmla="*/ 1511 w 10000"/>
              <a:gd name="connsiteY46" fmla="*/ 5807 h 10599"/>
              <a:gd name="connsiteX47" fmla="*/ 1310 w 10000"/>
              <a:gd name="connsiteY47" fmla="*/ 6224 h 10599"/>
              <a:gd name="connsiteX48" fmla="*/ 856 w 10000"/>
              <a:gd name="connsiteY48" fmla="*/ 6432 h 10599"/>
              <a:gd name="connsiteX49" fmla="*/ 202 w 10000"/>
              <a:gd name="connsiteY49" fmla="*/ 5807 h 10599"/>
              <a:gd name="connsiteX50" fmla="*/ 655 w 10000"/>
              <a:gd name="connsiteY50" fmla="*/ 5807 h 10599"/>
              <a:gd name="connsiteX51" fmla="*/ 655 w 10000"/>
              <a:gd name="connsiteY51" fmla="*/ 5599 h 10599"/>
              <a:gd name="connsiteX52" fmla="*/ 428 w 10000"/>
              <a:gd name="connsiteY52" fmla="*/ 5599 h 10599"/>
              <a:gd name="connsiteX53" fmla="*/ 0 w 10000"/>
              <a:gd name="connsiteY53" fmla="*/ 5417 h 10599"/>
              <a:gd name="connsiteX54" fmla="*/ 202 w 10000"/>
              <a:gd name="connsiteY54" fmla="*/ 5182 h 10599"/>
              <a:gd name="connsiteX55" fmla="*/ 856 w 10000"/>
              <a:gd name="connsiteY55" fmla="*/ 5182 h 10599"/>
              <a:gd name="connsiteX56" fmla="*/ 856 w 10000"/>
              <a:gd name="connsiteY56" fmla="*/ 4974 h 10599"/>
              <a:gd name="connsiteX57" fmla="*/ 856 w 10000"/>
              <a:gd name="connsiteY57" fmla="*/ 4557 h 10599"/>
              <a:gd name="connsiteX58" fmla="*/ 655 w 10000"/>
              <a:gd name="connsiteY58" fmla="*/ 4557 h 10599"/>
              <a:gd name="connsiteX59" fmla="*/ 655 w 10000"/>
              <a:gd name="connsiteY59" fmla="*/ 4349 h 10599"/>
              <a:gd name="connsiteX60" fmla="*/ 428 w 10000"/>
              <a:gd name="connsiteY60" fmla="*/ 4349 h 10599"/>
              <a:gd name="connsiteX61" fmla="*/ 428 w 10000"/>
              <a:gd name="connsiteY61" fmla="*/ 3932 h 10599"/>
              <a:gd name="connsiteX62" fmla="*/ 655 w 10000"/>
              <a:gd name="connsiteY62" fmla="*/ 3724 h 10599"/>
              <a:gd name="connsiteX63" fmla="*/ 856 w 10000"/>
              <a:gd name="connsiteY63" fmla="*/ 3932 h 10599"/>
              <a:gd name="connsiteX64" fmla="*/ 1310 w 10000"/>
              <a:gd name="connsiteY64" fmla="*/ 3724 h 10599"/>
              <a:gd name="connsiteX65" fmla="*/ 2393 w 10000"/>
              <a:gd name="connsiteY65" fmla="*/ 2474 h 10599"/>
              <a:gd name="connsiteX66" fmla="*/ 2166 w 10000"/>
              <a:gd name="connsiteY66" fmla="*/ 2292 h 10599"/>
              <a:gd name="connsiteX67" fmla="*/ 2393 w 10000"/>
              <a:gd name="connsiteY67" fmla="*/ 2292 h 10599"/>
              <a:gd name="connsiteX68" fmla="*/ 2393 w 10000"/>
              <a:gd name="connsiteY68" fmla="*/ 2057 h 10599"/>
              <a:gd name="connsiteX69" fmla="*/ 1965 w 10000"/>
              <a:gd name="connsiteY69" fmla="*/ 1849 h 10599"/>
              <a:gd name="connsiteX70" fmla="*/ 2166 w 10000"/>
              <a:gd name="connsiteY70" fmla="*/ 1432 h 10599"/>
              <a:gd name="connsiteX71" fmla="*/ 1965 w 10000"/>
              <a:gd name="connsiteY71" fmla="*/ 1224 h 10599"/>
              <a:gd name="connsiteX72" fmla="*/ 1940 w 10000"/>
              <a:gd name="connsiteY72" fmla="*/ 417 h 10599"/>
              <a:gd name="connsiteX73" fmla="*/ 2596 w 10000"/>
              <a:gd name="connsiteY73" fmla="*/ 0 h 10599"/>
              <a:gd name="connsiteX74" fmla="*/ 3382 w 10000"/>
              <a:gd name="connsiteY74" fmla="*/ 599 h 10599"/>
              <a:gd name="connsiteX75" fmla="*/ 3904 w 10000"/>
              <a:gd name="connsiteY75" fmla="*/ 599 h 10599"/>
              <a:gd name="connsiteX76" fmla="*/ 4131 w 10000"/>
              <a:gd name="connsiteY76" fmla="*/ 807 h 10599"/>
              <a:gd name="connsiteX77" fmla="*/ 4131 w 10000"/>
              <a:gd name="connsiteY77" fmla="*/ 1224 h 10599"/>
              <a:gd name="connsiteX78" fmla="*/ 3703 w 10000"/>
              <a:gd name="connsiteY78" fmla="*/ 1667 h 10599"/>
              <a:gd name="connsiteX79" fmla="*/ 3904 w 10000"/>
              <a:gd name="connsiteY79" fmla="*/ 2057 h 10599"/>
              <a:gd name="connsiteX80" fmla="*/ 3476 w 10000"/>
              <a:gd name="connsiteY80" fmla="*/ 2057 h 10599"/>
              <a:gd name="connsiteX81" fmla="*/ 3703 w 10000"/>
              <a:gd name="connsiteY81" fmla="*/ 2682 h 10599"/>
              <a:gd name="connsiteX82" fmla="*/ 4358 w 10000"/>
              <a:gd name="connsiteY82" fmla="*/ 2917 h 10599"/>
              <a:gd name="connsiteX83" fmla="*/ 4131 w 10000"/>
              <a:gd name="connsiteY83" fmla="*/ 3542 h 10599"/>
              <a:gd name="connsiteX84" fmla="*/ 4559 w 10000"/>
              <a:gd name="connsiteY84" fmla="*/ 3724 h 10599"/>
              <a:gd name="connsiteX85" fmla="*/ 6524 w 10000"/>
              <a:gd name="connsiteY85" fmla="*/ 4349 h 10599"/>
              <a:gd name="connsiteX86" fmla="*/ 6751 w 10000"/>
              <a:gd name="connsiteY86" fmla="*/ 4349 h 10599"/>
              <a:gd name="connsiteX87" fmla="*/ 6751 w 10000"/>
              <a:gd name="connsiteY87" fmla="*/ 4167 h 10599"/>
              <a:gd name="connsiteX88" fmla="*/ 6751 w 10000"/>
              <a:gd name="connsiteY88" fmla="*/ 3724 h 10599"/>
              <a:gd name="connsiteX89" fmla="*/ 6952 w 10000"/>
              <a:gd name="connsiteY89" fmla="*/ 3724 h 10599"/>
              <a:gd name="connsiteX90" fmla="*/ 7179 w 10000"/>
              <a:gd name="connsiteY90" fmla="*/ 3932 h 10599"/>
              <a:gd name="connsiteX91" fmla="*/ 7179 w 10000"/>
              <a:gd name="connsiteY91" fmla="*/ 4167 h 10599"/>
              <a:gd name="connsiteX92" fmla="*/ 8035 w 10000"/>
              <a:gd name="connsiteY92" fmla="*/ 4167 h 10599"/>
              <a:gd name="connsiteX93" fmla="*/ 8262 w 10000"/>
              <a:gd name="connsiteY93" fmla="*/ 4167 h 10599"/>
              <a:gd name="connsiteX94" fmla="*/ 8035 w 10000"/>
              <a:gd name="connsiteY94" fmla="*/ 3724 h 10599"/>
              <a:gd name="connsiteX95" fmla="*/ 9144 w 10000"/>
              <a:gd name="connsiteY95" fmla="*/ 3307 h 10599"/>
              <a:gd name="connsiteX0" fmla="*/ 9144 w 10000"/>
              <a:gd name="connsiteY0" fmla="*/ 3307 h 10599"/>
              <a:gd name="connsiteX1" fmla="*/ 9144 w 10000"/>
              <a:gd name="connsiteY1" fmla="*/ 3307 h 10599"/>
              <a:gd name="connsiteX2" fmla="*/ 9572 w 10000"/>
              <a:gd name="connsiteY2" fmla="*/ 3307 h 10599"/>
              <a:gd name="connsiteX3" fmla="*/ 10000 w 10000"/>
              <a:gd name="connsiteY3" fmla="*/ 3724 h 10599"/>
              <a:gd name="connsiteX4" fmla="*/ 10000 w 10000"/>
              <a:gd name="connsiteY4" fmla="*/ 4167 h 10599"/>
              <a:gd name="connsiteX5" fmla="*/ 9572 w 10000"/>
              <a:gd name="connsiteY5" fmla="*/ 4167 h 10599"/>
              <a:gd name="connsiteX6" fmla="*/ 9345 w 10000"/>
              <a:gd name="connsiteY6" fmla="*/ 4349 h 10599"/>
              <a:gd name="connsiteX7" fmla="*/ 8917 w 10000"/>
              <a:gd name="connsiteY7" fmla="*/ 5182 h 10599"/>
              <a:gd name="connsiteX8" fmla="*/ 8690 w 10000"/>
              <a:gd name="connsiteY8" fmla="*/ 5417 h 10599"/>
              <a:gd name="connsiteX9" fmla="*/ 8489 w 10000"/>
              <a:gd name="connsiteY9" fmla="*/ 5807 h 10599"/>
              <a:gd name="connsiteX10" fmla="*/ 8489 w 10000"/>
              <a:gd name="connsiteY10" fmla="*/ 6042 h 10599"/>
              <a:gd name="connsiteX11" fmla="*/ 8262 w 10000"/>
              <a:gd name="connsiteY11" fmla="*/ 5417 h 10599"/>
              <a:gd name="connsiteX12" fmla="*/ 8262 w 10000"/>
              <a:gd name="connsiteY12" fmla="*/ 5182 h 10599"/>
              <a:gd name="connsiteX13" fmla="*/ 8035 w 10000"/>
              <a:gd name="connsiteY13" fmla="*/ 5417 h 10599"/>
              <a:gd name="connsiteX14" fmla="*/ 7834 w 10000"/>
              <a:gd name="connsiteY14" fmla="*/ 5417 h 10599"/>
              <a:gd name="connsiteX15" fmla="*/ 7834 w 10000"/>
              <a:gd name="connsiteY15" fmla="*/ 5182 h 10599"/>
              <a:gd name="connsiteX16" fmla="*/ 8262 w 10000"/>
              <a:gd name="connsiteY16" fmla="*/ 4792 h 10599"/>
              <a:gd name="connsiteX17" fmla="*/ 7406 w 10000"/>
              <a:gd name="connsiteY17" fmla="*/ 4792 h 10599"/>
              <a:gd name="connsiteX18" fmla="*/ 7406 w 10000"/>
              <a:gd name="connsiteY18" fmla="*/ 4349 h 10599"/>
              <a:gd name="connsiteX19" fmla="*/ 7179 w 10000"/>
              <a:gd name="connsiteY19" fmla="*/ 4349 h 10599"/>
              <a:gd name="connsiteX20" fmla="*/ 6952 w 10000"/>
              <a:gd name="connsiteY20" fmla="*/ 4349 h 10599"/>
              <a:gd name="connsiteX21" fmla="*/ 6952 w 10000"/>
              <a:gd name="connsiteY21" fmla="*/ 4557 h 10599"/>
              <a:gd name="connsiteX22" fmla="*/ 6751 w 10000"/>
              <a:gd name="connsiteY22" fmla="*/ 4974 h 10599"/>
              <a:gd name="connsiteX23" fmla="*/ 6952 w 10000"/>
              <a:gd name="connsiteY23" fmla="*/ 4974 h 10599"/>
              <a:gd name="connsiteX24" fmla="*/ 7179 w 10000"/>
              <a:gd name="connsiteY24" fmla="*/ 6042 h 10599"/>
              <a:gd name="connsiteX25" fmla="*/ 6952 w 10000"/>
              <a:gd name="connsiteY25" fmla="*/ 6042 h 10599"/>
              <a:gd name="connsiteX26" fmla="*/ 6952 w 10000"/>
              <a:gd name="connsiteY26" fmla="*/ 5807 h 10599"/>
              <a:gd name="connsiteX27" fmla="*/ 6524 w 10000"/>
              <a:gd name="connsiteY27" fmla="*/ 6042 h 10599"/>
              <a:gd name="connsiteX28" fmla="*/ 6297 w 10000"/>
              <a:gd name="connsiteY28" fmla="*/ 6667 h 10599"/>
              <a:gd name="connsiteX29" fmla="*/ 5869 w 10000"/>
              <a:gd name="connsiteY29" fmla="*/ 6849 h 10599"/>
              <a:gd name="connsiteX30" fmla="*/ 4786 w 10000"/>
              <a:gd name="connsiteY30" fmla="*/ 7682 h 10599"/>
              <a:gd name="connsiteX31" fmla="*/ 4786 w 10000"/>
              <a:gd name="connsiteY31" fmla="*/ 7917 h 10599"/>
              <a:gd name="connsiteX32" fmla="*/ 4559 w 10000"/>
              <a:gd name="connsiteY32" fmla="*/ 7917 h 10599"/>
              <a:gd name="connsiteX33" fmla="*/ 4358 w 10000"/>
              <a:gd name="connsiteY33" fmla="*/ 8099 h 10599"/>
              <a:gd name="connsiteX34" fmla="*/ 4131 w 10000"/>
              <a:gd name="connsiteY34" fmla="*/ 8099 h 10599"/>
              <a:gd name="connsiteX35" fmla="*/ 4131 w 10000"/>
              <a:gd name="connsiteY35" fmla="*/ 8307 h 10599"/>
              <a:gd name="connsiteX36" fmla="*/ 4131 w 10000"/>
              <a:gd name="connsiteY36" fmla="*/ 8932 h 10599"/>
              <a:gd name="connsiteX37" fmla="*/ 3904 w 10000"/>
              <a:gd name="connsiteY37" fmla="*/ 9349 h 10599"/>
              <a:gd name="connsiteX38" fmla="*/ 3904 w 10000"/>
              <a:gd name="connsiteY38" fmla="*/ 9974 h 10599"/>
              <a:gd name="connsiteX39" fmla="*/ 3703 w 10000"/>
              <a:gd name="connsiteY39" fmla="*/ 10182 h 10599"/>
              <a:gd name="connsiteX40" fmla="*/ 3476 w 10000"/>
              <a:gd name="connsiteY40" fmla="*/ 10417 h 10599"/>
              <a:gd name="connsiteX41" fmla="*/ 3249 w 10000"/>
              <a:gd name="connsiteY41" fmla="*/ 10599 h 10599"/>
              <a:gd name="connsiteX42" fmla="*/ 2821 w 10000"/>
              <a:gd name="connsiteY42" fmla="*/ 10417 h 10599"/>
              <a:gd name="connsiteX43" fmla="*/ 2166 w 10000"/>
              <a:gd name="connsiteY43" fmla="*/ 8542 h 10599"/>
              <a:gd name="connsiteX44" fmla="*/ 1738 w 10000"/>
              <a:gd name="connsiteY44" fmla="*/ 7917 h 10599"/>
              <a:gd name="connsiteX45" fmla="*/ 1511 w 10000"/>
              <a:gd name="connsiteY45" fmla="*/ 6667 h 10599"/>
              <a:gd name="connsiteX46" fmla="*/ 1511 w 10000"/>
              <a:gd name="connsiteY46" fmla="*/ 5807 h 10599"/>
              <a:gd name="connsiteX47" fmla="*/ 1310 w 10000"/>
              <a:gd name="connsiteY47" fmla="*/ 6224 h 10599"/>
              <a:gd name="connsiteX48" fmla="*/ 856 w 10000"/>
              <a:gd name="connsiteY48" fmla="*/ 6432 h 10599"/>
              <a:gd name="connsiteX49" fmla="*/ 202 w 10000"/>
              <a:gd name="connsiteY49" fmla="*/ 5807 h 10599"/>
              <a:gd name="connsiteX50" fmla="*/ 655 w 10000"/>
              <a:gd name="connsiteY50" fmla="*/ 5807 h 10599"/>
              <a:gd name="connsiteX51" fmla="*/ 655 w 10000"/>
              <a:gd name="connsiteY51" fmla="*/ 5599 h 10599"/>
              <a:gd name="connsiteX52" fmla="*/ 428 w 10000"/>
              <a:gd name="connsiteY52" fmla="*/ 5599 h 10599"/>
              <a:gd name="connsiteX53" fmla="*/ 0 w 10000"/>
              <a:gd name="connsiteY53" fmla="*/ 5417 h 10599"/>
              <a:gd name="connsiteX54" fmla="*/ 202 w 10000"/>
              <a:gd name="connsiteY54" fmla="*/ 5182 h 10599"/>
              <a:gd name="connsiteX55" fmla="*/ 856 w 10000"/>
              <a:gd name="connsiteY55" fmla="*/ 5182 h 10599"/>
              <a:gd name="connsiteX56" fmla="*/ 856 w 10000"/>
              <a:gd name="connsiteY56" fmla="*/ 4974 h 10599"/>
              <a:gd name="connsiteX57" fmla="*/ 856 w 10000"/>
              <a:gd name="connsiteY57" fmla="*/ 4557 h 10599"/>
              <a:gd name="connsiteX58" fmla="*/ 655 w 10000"/>
              <a:gd name="connsiteY58" fmla="*/ 4557 h 10599"/>
              <a:gd name="connsiteX59" fmla="*/ 655 w 10000"/>
              <a:gd name="connsiteY59" fmla="*/ 4349 h 10599"/>
              <a:gd name="connsiteX60" fmla="*/ 428 w 10000"/>
              <a:gd name="connsiteY60" fmla="*/ 4349 h 10599"/>
              <a:gd name="connsiteX61" fmla="*/ 428 w 10000"/>
              <a:gd name="connsiteY61" fmla="*/ 3932 h 10599"/>
              <a:gd name="connsiteX62" fmla="*/ 655 w 10000"/>
              <a:gd name="connsiteY62" fmla="*/ 3724 h 10599"/>
              <a:gd name="connsiteX63" fmla="*/ 856 w 10000"/>
              <a:gd name="connsiteY63" fmla="*/ 3932 h 10599"/>
              <a:gd name="connsiteX64" fmla="*/ 1310 w 10000"/>
              <a:gd name="connsiteY64" fmla="*/ 3724 h 10599"/>
              <a:gd name="connsiteX65" fmla="*/ 2393 w 10000"/>
              <a:gd name="connsiteY65" fmla="*/ 2474 h 10599"/>
              <a:gd name="connsiteX66" fmla="*/ 2166 w 10000"/>
              <a:gd name="connsiteY66" fmla="*/ 2292 h 10599"/>
              <a:gd name="connsiteX67" fmla="*/ 2393 w 10000"/>
              <a:gd name="connsiteY67" fmla="*/ 2292 h 10599"/>
              <a:gd name="connsiteX68" fmla="*/ 2393 w 10000"/>
              <a:gd name="connsiteY68" fmla="*/ 2057 h 10599"/>
              <a:gd name="connsiteX69" fmla="*/ 1965 w 10000"/>
              <a:gd name="connsiteY69" fmla="*/ 1849 h 10599"/>
              <a:gd name="connsiteX70" fmla="*/ 2166 w 10000"/>
              <a:gd name="connsiteY70" fmla="*/ 1432 h 10599"/>
              <a:gd name="connsiteX71" fmla="*/ 1965 w 10000"/>
              <a:gd name="connsiteY71" fmla="*/ 1224 h 10599"/>
              <a:gd name="connsiteX72" fmla="*/ 1940 w 10000"/>
              <a:gd name="connsiteY72" fmla="*/ 417 h 10599"/>
              <a:gd name="connsiteX73" fmla="*/ 2596 w 10000"/>
              <a:gd name="connsiteY73" fmla="*/ 0 h 10599"/>
              <a:gd name="connsiteX74" fmla="*/ 3382 w 10000"/>
              <a:gd name="connsiteY74" fmla="*/ 599 h 10599"/>
              <a:gd name="connsiteX75" fmla="*/ 4131 w 10000"/>
              <a:gd name="connsiteY75" fmla="*/ 495 h 10599"/>
              <a:gd name="connsiteX76" fmla="*/ 4131 w 10000"/>
              <a:gd name="connsiteY76" fmla="*/ 807 h 10599"/>
              <a:gd name="connsiteX77" fmla="*/ 4131 w 10000"/>
              <a:gd name="connsiteY77" fmla="*/ 1224 h 10599"/>
              <a:gd name="connsiteX78" fmla="*/ 3703 w 10000"/>
              <a:gd name="connsiteY78" fmla="*/ 1667 h 10599"/>
              <a:gd name="connsiteX79" fmla="*/ 3904 w 10000"/>
              <a:gd name="connsiteY79" fmla="*/ 2057 h 10599"/>
              <a:gd name="connsiteX80" fmla="*/ 3476 w 10000"/>
              <a:gd name="connsiteY80" fmla="*/ 2057 h 10599"/>
              <a:gd name="connsiteX81" fmla="*/ 3703 w 10000"/>
              <a:gd name="connsiteY81" fmla="*/ 2682 h 10599"/>
              <a:gd name="connsiteX82" fmla="*/ 4358 w 10000"/>
              <a:gd name="connsiteY82" fmla="*/ 2917 h 10599"/>
              <a:gd name="connsiteX83" fmla="*/ 4131 w 10000"/>
              <a:gd name="connsiteY83" fmla="*/ 3542 h 10599"/>
              <a:gd name="connsiteX84" fmla="*/ 4559 w 10000"/>
              <a:gd name="connsiteY84" fmla="*/ 3724 h 10599"/>
              <a:gd name="connsiteX85" fmla="*/ 6524 w 10000"/>
              <a:gd name="connsiteY85" fmla="*/ 4349 h 10599"/>
              <a:gd name="connsiteX86" fmla="*/ 6751 w 10000"/>
              <a:gd name="connsiteY86" fmla="*/ 4349 h 10599"/>
              <a:gd name="connsiteX87" fmla="*/ 6751 w 10000"/>
              <a:gd name="connsiteY87" fmla="*/ 4167 h 10599"/>
              <a:gd name="connsiteX88" fmla="*/ 6751 w 10000"/>
              <a:gd name="connsiteY88" fmla="*/ 3724 h 10599"/>
              <a:gd name="connsiteX89" fmla="*/ 6952 w 10000"/>
              <a:gd name="connsiteY89" fmla="*/ 3724 h 10599"/>
              <a:gd name="connsiteX90" fmla="*/ 7179 w 10000"/>
              <a:gd name="connsiteY90" fmla="*/ 3932 h 10599"/>
              <a:gd name="connsiteX91" fmla="*/ 7179 w 10000"/>
              <a:gd name="connsiteY91" fmla="*/ 4167 h 10599"/>
              <a:gd name="connsiteX92" fmla="*/ 8035 w 10000"/>
              <a:gd name="connsiteY92" fmla="*/ 4167 h 10599"/>
              <a:gd name="connsiteX93" fmla="*/ 8262 w 10000"/>
              <a:gd name="connsiteY93" fmla="*/ 4167 h 10599"/>
              <a:gd name="connsiteX94" fmla="*/ 8035 w 10000"/>
              <a:gd name="connsiteY94" fmla="*/ 3724 h 10599"/>
              <a:gd name="connsiteX95" fmla="*/ 9144 w 10000"/>
              <a:gd name="connsiteY95" fmla="*/ 3307 h 10599"/>
              <a:gd name="connsiteX0" fmla="*/ 9144 w 10000"/>
              <a:gd name="connsiteY0" fmla="*/ 3307 h 10599"/>
              <a:gd name="connsiteX1" fmla="*/ 9144 w 10000"/>
              <a:gd name="connsiteY1" fmla="*/ 3307 h 10599"/>
              <a:gd name="connsiteX2" fmla="*/ 9572 w 10000"/>
              <a:gd name="connsiteY2" fmla="*/ 3307 h 10599"/>
              <a:gd name="connsiteX3" fmla="*/ 10000 w 10000"/>
              <a:gd name="connsiteY3" fmla="*/ 3724 h 10599"/>
              <a:gd name="connsiteX4" fmla="*/ 10000 w 10000"/>
              <a:gd name="connsiteY4" fmla="*/ 4167 h 10599"/>
              <a:gd name="connsiteX5" fmla="*/ 9572 w 10000"/>
              <a:gd name="connsiteY5" fmla="*/ 4167 h 10599"/>
              <a:gd name="connsiteX6" fmla="*/ 9345 w 10000"/>
              <a:gd name="connsiteY6" fmla="*/ 4349 h 10599"/>
              <a:gd name="connsiteX7" fmla="*/ 8917 w 10000"/>
              <a:gd name="connsiteY7" fmla="*/ 5182 h 10599"/>
              <a:gd name="connsiteX8" fmla="*/ 8690 w 10000"/>
              <a:gd name="connsiteY8" fmla="*/ 5417 h 10599"/>
              <a:gd name="connsiteX9" fmla="*/ 8489 w 10000"/>
              <a:gd name="connsiteY9" fmla="*/ 5807 h 10599"/>
              <a:gd name="connsiteX10" fmla="*/ 8489 w 10000"/>
              <a:gd name="connsiteY10" fmla="*/ 6042 h 10599"/>
              <a:gd name="connsiteX11" fmla="*/ 8262 w 10000"/>
              <a:gd name="connsiteY11" fmla="*/ 5417 h 10599"/>
              <a:gd name="connsiteX12" fmla="*/ 8262 w 10000"/>
              <a:gd name="connsiteY12" fmla="*/ 5182 h 10599"/>
              <a:gd name="connsiteX13" fmla="*/ 8035 w 10000"/>
              <a:gd name="connsiteY13" fmla="*/ 5417 h 10599"/>
              <a:gd name="connsiteX14" fmla="*/ 7834 w 10000"/>
              <a:gd name="connsiteY14" fmla="*/ 5417 h 10599"/>
              <a:gd name="connsiteX15" fmla="*/ 7834 w 10000"/>
              <a:gd name="connsiteY15" fmla="*/ 5182 h 10599"/>
              <a:gd name="connsiteX16" fmla="*/ 8262 w 10000"/>
              <a:gd name="connsiteY16" fmla="*/ 4792 h 10599"/>
              <a:gd name="connsiteX17" fmla="*/ 7406 w 10000"/>
              <a:gd name="connsiteY17" fmla="*/ 4792 h 10599"/>
              <a:gd name="connsiteX18" fmla="*/ 7406 w 10000"/>
              <a:gd name="connsiteY18" fmla="*/ 4349 h 10599"/>
              <a:gd name="connsiteX19" fmla="*/ 7179 w 10000"/>
              <a:gd name="connsiteY19" fmla="*/ 4349 h 10599"/>
              <a:gd name="connsiteX20" fmla="*/ 6952 w 10000"/>
              <a:gd name="connsiteY20" fmla="*/ 4349 h 10599"/>
              <a:gd name="connsiteX21" fmla="*/ 6952 w 10000"/>
              <a:gd name="connsiteY21" fmla="*/ 4557 h 10599"/>
              <a:gd name="connsiteX22" fmla="*/ 6751 w 10000"/>
              <a:gd name="connsiteY22" fmla="*/ 4974 h 10599"/>
              <a:gd name="connsiteX23" fmla="*/ 6952 w 10000"/>
              <a:gd name="connsiteY23" fmla="*/ 4974 h 10599"/>
              <a:gd name="connsiteX24" fmla="*/ 7179 w 10000"/>
              <a:gd name="connsiteY24" fmla="*/ 6042 h 10599"/>
              <a:gd name="connsiteX25" fmla="*/ 6952 w 10000"/>
              <a:gd name="connsiteY25" fmla="*/ 6042 h 10599"/>
              <a:gd name="connsiteX26" fmla="*/ 6952 w 10000"/>
              <a:gd name="connsiteY26" fmla="*/ 5807 h 10599"/>
              <a:gd name="connsiteX27" fmla="*/ 6524 w 10000"/>
              <a:gd name="connsiteY27" fmla="*/ 6042 h 10599"/>
              <a:gd name="connsiteX28" fmla="*/ 6297 w 10000"/>
              <a:gd name="connsiteY28" fmla="*/ 6667 h 10599"/>
              <a:gd name="connsiteX29" fmla="*/ 5869 w 10000"/>
              <a:gd name="connsiteY29" fmla="*/ 6849 h 10599"/>
              <a:gd name="connsiteX30" fmla="*/ 4786 w 10000"/>
              <a:gd name="connsiteY30" fmla="*/ 7682 h 10599"/>
              <a:gd name="connsiteX31" fmla="*/ 4786 w 10000"/>
              <a:gd name="connsiteY31" fmla="*/ 7917 h 10599"/>
              <a:gd name="connsiteX32" fmla="*/ 4559 w 10000"/>
              <a:gd name="connsiteY32" fmla="*/ 7917 h 10599"/>
              <a:gd name="connsiteX33" fmla="*/ 4358 w 10000"/>
              <a:gd name="connsiteY33" fmla="*/ 8099 h 10599"/>
              <a:gd name="connsiteX34" fmla="*/ 4131 w 10000"/>
              <a:gd name="connsiteY34" fmla="*/ 8099 h 10599"/>
              <a:gd name="connsiteX35" fmla="*/ 4131 w 10000"/>
              <a:gd name="connsiteY35" fmla="*/ 8307 h 10599"/>
              <a:gd name="connsiteX36" fmla="*/ 4131 w 10000"/>
              <a:gd name="connsiteY36" fmla="*/ 8932 h 10599"/>
              <a:gd name="connsiteX37" fmla="*/ 3904 w 10000"/>
              <a:gd name="connsiteY37" fmla="*/ 9349 h 10599"/>
              <a:gd name="connsiteX38" fmla="*/ 3904 w 10000"/>
              <a:gd name="connsiteY38" fmla="*/ 9974 h 10599"/>
              <a:gd name="connsiteX39" fmla="*/ 3703 w 10000"/>
              <a:gd name="connsiteY39" fmla="*/ 10182 h 10599"/>
              <a:gd name="connsiteX40" fmla="*/ 3476 w 10000"/>
              <a:gd name="connsiteY40" fmla="*/ 10417 h 10599"/>
              <a:gd name="connsiteX41" fmla="*/ 3249 w 10000"/>
              <a:gd name="connsiteY41" fmla="*/ 10599 h 10599"/>
              <a:gd name="connsiteX42" fmla="*/ 2821 w 10000"/>
              <a:gd name="connsiteY42" fmla="*/ 10417 h 10599"/>
              <a:gd name="connsiteX43" fmla="*/ 2166 w 10000"/>
              <a:gd name="connsiteY43" fmla="*/ 8542 h 10599"/>
              <a:gd name="connsiteX44" fmla="*/ 1738 w 10000"/>
              <a:gd name="connsiteY44" fmla="*/ 7917 h 10599"/>
              <a:gd name="connsiteX45" fmla="*/ 1511 w 10000"/>
              <a:gd name="connsiteY45" fmla="*/ 6667 h 10599"/>
              <a:gd name="connsiteX46" fmla="*/ 1511 w 10000"/>
              <a:gd name="connsiteY46" fmla="*/ 5807 h 10599"/>
              <a:gd name="connsiteX47" fmla="*/ 1310 w 10000"/>
              <a:gd name="connsiteY47" fmla="*/ 6224 h 10599"/>
              <a:gd name="connsiteX48" fmla="*/ 856 w 10000"/>
              <a:gd name="connsiteY48" fmla="*/ 6432 h 10599"/>
              <a:gd name="connsiteX49" fmla="*/ 202 w 10000"/>
              <a:gd name="connsiteY49" fmla="*/ 5807 h 10599"/>
              <a:gd name="connsiteX50" fmla="*/ 655 w 10000"/>
              <a:gd name="connsiteY50" fmla="*/ 5807 h 10599"/>
              <a:gd name="connsiteX51" fmla="*/ 655 w 10000"/>
              <a:gd name="connsiteY51" fmla="*/ 5599 h 10599"/>
              <a:gd name="connsiteX52" fmla="*/ 428 w 10000"/>
              <a:gd name="connsiteY52" fmla="*/ 5599 h 10599"/>
              <a:gd name="connsiteX53" fmla="*/ 0 w 10000"/>
              <a:gd name="connsiteY53" fmla="*/ 5417 h 10599"/>
              <a:gd name="connsiteX54" fmla="*/ 202 w 10000"/>
              <a:gd name="connsiteY54" fmla="*/ 5182 h 10599"/>
              <a:gd name="connsiteX55" fmla="*/ 856 w 10000"/>
              <a:gd name="connsiteY55" fmla="*/ 5182 h 10599"/>
              <a:gd name="connsiteX56" fmla="*/ 856 w 10000"/>
              <a:gd name="connsiteY56" fmla="*/ 4974 h 10599"/>
              <a:gd name="connsiteX57" fmla="*/ 856 w 10000"/>
              <a:gd name="connsiteY57" fmla="*/ 4557 h 10599"/>
              <a:gd name="connsiteX58" fmla="*/ 655 w 10000"/>
              <a:gd name="connsiteY58" fmla="*/ 4557 h 10599"/>
              <a:gd name="connsiteX59" fmla="*/ 655 w 10000"/>
              <a:gd name="connsiteY59" fmla="*/ 4349 h 10599"/>
              <a:gd name="connsiteX60" fmla="*/ 428 w 10000"/>
              <a:gd name="connsiteY60" fmla="*/ 4349 h 10599"/>
              <a:gd name="connsiteX61" fmla="*/ 428 w 10000"/>
              <a:gd name="connsiteY61" fmla="*/ 3932 h 10599"/>
              <a:gd name="connsiteX62" fmla="*/ 655 w 10000"/>
              <a:gd name="connsiteY62" fmla="*/ 3724 h 10599"/>
              <a:gd name="connsiteX63" fmla="*/ 856 w 10000"/>
              <a:gd name="connsiteY63" fmla="*/ 3932 h 10599"/>
              <a:gd name="connsiteX64" fmla="*/ 1310 w 10000"/>
              <a:gd name="connsiteY64" fmla="*/ 3724 h 10599"/>
              <a:gd name="connsiteX65" fmla="*/ 2393 w 10000"/>
              <a:gd name="connsiteY65" fmla="*/ 2474 h 10599"/>
              <a:gd name="connsiteX66" fmla="*/ 2166 w 10000"/>
              <a:gd name="connsiteY66" fmla="*/ 2292 h 10599"/>
              <a:gd name="connsiteX67" fmla="*/ 2393 w 10000"/>
              <a:gd name="connsiteY67" fmla="*/ 2292 h 10599"/>
              <a:gd name="connsiteX68" fmla="*/ 2393 w 10000"/>
              <a:gd name="connsiteY68" fmla="*/ 2057 h 10599"/>
              <a:gd name="connsiteX69" fmla="*/ 1965 w 10000"/>
              <a:gd name="connsiteY69" fmla="*/ 1849 h 10599"/>
              <a:gd name="connsiteX70" fmla="*/ 2166 w 10000"/>
              <a:gd name="connsiteY70" fmla="*/ 1432 h 10599"/>
              <a:gd name="connsiteX71" fmla="*/ 1965 w 10000"/>
              <a:gd name="connsiteY71" fmla="*/ 1224 h 10599"/>
              <a:gd name="connsiteX72" fmla="*/ 2189 w 10000"/>
              <a:gd name="connsiteY72" fmla="*/ 807 h 10599"/>
              <a:gd name="connsiteX73" fmla="*/ 1940 w 10000"/>
              <a:gd name="connsiteY73" fmla="*/ 417 h 10599"/>
              <a:gd name="connsiteX74" fmla="*/ 2596 w 10000"/>
              <a:gd name="connsiteY74" fmla="*/ 0 h 10599"/>
              <a:gd name="connsiteX75" fmla="*/ 3382 w 10000"/>
              <a:gd name="connsiteY75" fmla="*/ 599 h 10599"/>
              <a:gd name="connsiteX76" fmla="*/ 4131 w 10000"/>
              <a:gd name="connsiteY76" fmla="*/ 495 h 10599"/>
              <a:gd name="connsiteX77" fmla="*/ 4131 w 10000"/>
              <a:gd name="connsiteY77" fmla="*/ 807 h 10599"/>
              <a:gd name="connsiteX78" fmla="*/ 4131 w 10000"/>
              <a:gd name="connsiteY78" fmla="*/ 1224 h 10599"/>
              <a:gd name="connsiteX79" fmla="*/ 3703 w 10000"/>
              <a:gd name="connsiteY79" fmla="*/ 1667 h 10599"/>
              <a:gd name="connsiteX80" fmla="*/ 3904 w 10000"/>
              <a:gd name="connsiteY80" fmla="*/ 2057 h 10599"/>
              <a:gd name="connsiteX81" fmla="*/ 3476 w 10000"/>
              <a:gd name="connsiteY81" fmla="*/ 2057 h 10599"/>
              <a:gd name="connsiteX82" fmla="*/ 3703 w 10000"/>
              <a:gd name="connsiteY82" fmla="*/ 2682 h 10599"/>
              <a:gd name="connsiteX83" fmla="*/ 4358 w 10000"/>
              <a:gd name="connsiteY83" fmla="*/ 2917 h 10599"/>
              <a:gd name="connsiteX84" fmla="*/ 4131 w 10000"/>
              <a:gd name="connsiteY84" fmla="*/ 3542 h 10599"/>
              <a:gd name="connsiteX85" fmla="*/ 4559 w 10000"/>
              <a:gd name="connsiteY85" fmla="*/ 3724 h 10599"/>
              <a:gd name="connsiteX86" fmla="*/ 6524 w 10000"/>
              <a:gd name="connsiteY86" fmla="*/ 4349 h 10599"/>
              <a:gd name="connsiteX87" fmla="*/ 6751 w 10000"/>
              <a:gd name="connsiteY87" fmla="*/ 4349 h 10599"/>
              <a:gd name="connsiteX88" fmla="*/ 6751 w 10000"/>
              <a:gd name="connsiteY88" fmla="*/ 4167 h 10599"/>
              <a:gd name="connsiteX89" fmla="*/ 6751 w 10000"/>
              <a:gd name="connsiteY89" fmla="*/ 3724 h 10599"/>
              <a:gd name="connsiteX90" fmla="*/ 6952 w 10000"/>
              <a:gd name="connsiteY90" fmla="*/ 3724 h 10599"/>
              <a:gd name="connsiteX91" fmla="*/ 7179 w 10000"/>
              <a:gd name="connsiteY91" fmla="*/ 3932 h 10599"/>
              <a:gd name="connsiteX92" fmla="*/ 7179 w 10000"/>
              <a:gd name="connsiteY92" fmla="*/ 4167 h 10599"/>
              <a:gd name="connsiteX93" fmla="*/ 8035 w 10000"/>
              <a:gd name="connsiteY93" fmla="*/ 4167 h 10599"/>
              <a:gd name="connsiteX94" fmla="*/ 8262 w 10000"/>
              <a:gd name="connsiteY94" fmla="*/ 4167 h 10599"/>
              <a:gd name="connsiteX95" fmla="*/ 8035 w 10000"/>
              <a:gd name="connsiteY95" fmla="*/ 3724 h 10599"/>
              <a:gd name="connsiteX96" fmla="*/ 9144 w 10000"/>
              <a:gd name="connsiteY96" fmla="*/ 3307 h 10599"/>
              <a:gd name="connsiteX0" fmla="*/ 9144 w 10000"/>
              <a:gd name="connsiteY0" fmla="*/ 3307 h 10599"/>
              <a:gd name="connsiteX1" fmla="*/ 9144 w 10000"/>
              <a:gd name="connsiteY1" fmla="*/ 3307 h 10599"/>
              <a:gd name="connsiteX2" fmla="*/ 9572 w 10000"/>
              <a:gd name="connsiteY2" fmla="*/ 3307 h 10599"/>
              <a:gd name="connsiteX3" fmla="*/ 10000 w 10000"/>
              <a:gd name="connsiteY3" fmla="*/ 3724 h 10599"/>
              <a:gd name="connsiteX4" fmla="*/ 10000 w 10000"/>
              <a:gd name="connsiteY4" fmla="*/ 4167 h 10599"/>
              <a:gd name="connsiteX5" fmla="*/ 9572 w 10000"/>
              <a:gd name="connsiteY5" fmla="*/ 4167 h 10599"/>
              <a:gd name="connsiteX6" fmla="*/ 9345 w 10000"/>
              <a:gd name="connsiteY6" fmla="*/ 4349 h 10599"/>
              <a:gd name="connsiteX7" fmla="*/ 8917 w 10000"/>
              <a:gd name="connsiteY7" fmla="*/ 5182 h 10599"/>
              <a:gd name="connsiteX8" fmla="*/ 8690 w 10000"/>
              <a:gd name="connsiteY8" fmla="*/ 5417 h 10599"/>
              <a:gd name="connsiteX9" fmla="*/ 8489 w 10000"/>
              <a:gd name="connsiteY9" fmla="*/ 5807 h 10599"/>
              <a:gd name="connsiteX10" fmla="*/ 8489 w 10000"/>
              <a:gd name="connsiteY10" fmla="*/ 6042 h 10599"/>
              <a:gd name="connsiteX11" fmla="*/ 8262 w 10000"/>
              <a:gd name="connsiteY11" fmla="*/ 5417 h 10599"/>
              <a:gd name="connsiteX12" fmla="*/ 8262 w 10000"/>
              <a:gd name="connsiteY12" fmla="*/ 5182 h 10599"/>
              <a:gd name="connsiteX13" fmla="*/ 8035 w 10000"/>
              <a:gd name="connsiteY13" fmla="*/ 5417 h 10599"/>
              <a:gd name="connsiteX14" fmla="*/ 7834 w 10000"/>
              <a:gd name="connsiteY14" fmla="*/ 5417 h 10599"/>
              <a:gd name="connsiteX15" fmla="*/ 7834 w 10000"/>
              <a:gd name="connsiteY15" fmla="*/ 5182 h 10599"/>
              <a:gd name="connsiteX16" fmla="*/ 8262 w 10000"/>
              <a:gd name="connsiteY16" fmla="*/ 4792 h 10599"/>
              <a:gd name="connsiteX17" fmla="*/ 7406 w 10000"/>
              <a:gd name="connsiteY17" fmla="*/ 4792 h 10599"/>
              <a:gd name="connsiteX18" fmla="*/ 7406 w 10000"/>
              <a:gd name="connsiteY18" fmla="*/ 4349 h 10599"/>
              <a:gd name="connsiteX19" fmla="*/ 7179 w 10000"/>
              <a:gd name="connsiteY19" fmla="*/ 4349 h 10599"/>
              <a:gd name="connsiteX20" fmla="*/ 6952 w 10000"/>
              <a:gd name="connsiteY20" fmla="*/ 4349 h 10599"/>
              <a:gd name="connsiteX21" fmla="*/ 6952 w 10000"/>
              <a:gd name="connsiteY21" fmla="*/ 4557 h 10599"/>
              <a:gd name="connsiteX22" fmla="*/ 6751 w 10000"/>
              <a:gd name="connsiteY22" fmla="*/ 4974 h 10599"/>
              <a:gd name="connsiteX23" fmla="*/ 6952 w 10000"/>
              <a:gd name="connsiteY23" fmla="*/ 4974 h 10599"/>
              <a:gd name="connsiteX24" fmla="*/ 7179 w 10000"/>
              <a:gd name="connsiteY24" fmla="*/ 6042 h 10599"/>
              <a:gd name="connsiteX25" fmla="*/ 6952 w 10000"/>
              <a:gd name="connsiteY25" fmla="*/ 6042 h 10599"/>
              <a:gd name="connsiteX26" fmla="*/ 6952 w 10000"/>
              <a:gd name="connsiteY26" fmla="*/ 5807 h 10599"/>
              <a:gd name="connsiteX27" fmla="*/ 6524 w 10000"/>
              <a:gd name="connsiteY27" fmla="*/ 6042 h 10599"/>
              <a:gd name="connsiteX28" fmla="*/ 6297 w 10000"/>
              <a:gd name="connsiteY28" fmla="*/ 6667 h 10599"/>
              <a:gd name="connsiteX29" fmla="*/ 5869 w 10000"/>
              <a:gd name="connsiteY29" fmla="*/ 6849 h 10599"/>
              <a:gd name="connsiteX30" fmla="*/ 4786 w 10000"/>
              <a:gd name="connsiteY30" fmla="*/ 7682 h 10599"/>
              <a:gd name="connsiteX31" fmla="*/ 4786 w 10000"/>
              <a:gd name="connsiteY31" fmla="*/ 7917 h 10599"/>
              <a:gd name="connsiteX32" fmla="*/ 4559 w 10000"/>
              <a:gd name="connsiteY32" fmla="*/ 7917 h 10599"/>
              <a:gd name="connsiteX33" fmla="*/ 4358 w 10000"/>
              <a:gd name="connsiteY33" fmla="*/ 8099 h 10599"/>
              <a:gd name="connsiteX34" fmla="*/ 4131 w 10000"/>
              <a:gd name="connsiteY34" fmla="*/ 8099 h 10599"/>
              <a:gd name="connsiteX35" fmla="*/ 4131 w 10000"/>
              <a:gd name="connsiteY35" fmla="*/ 8307 h 10599"/>
              <a:gd name="connsiteX36" fmla="*/ 4131 w 10000"/>
              <a:gd name="connsiteY36" fmla="*/ 8932 h 10599"/>
              <a:gd name="connsiteX37" fmla="*/ 3904 w 10000"/>
              <a:gd name="connsiteY37" fmla="*/ 9349 h 10599"/>
              <a:gd name="connsiteX38" fmla="*/ 3904 w 10000"/>
              <a:gd name="connsiteY38" fmla="*/ 9974 h 10599"/>
              <a:gd name="connsiteX39" fmla="*/ 3703 w 10000"/>
              <a:gd name="connsiteY39" fmla="*/ 10182 h 10599"/>
              <a:gd name="connsiteX40" fmla="*/ 3476 w 10000"/>
              <a:gd name="connsiteY40" fmla="*/ 10417 h 10599"/>
              <a:gd name="connsiteX41" fmla="*/ 3249 w 10000"/>
              <a:gd name="connsiteY41" fmla="*/ 10599 h 10599"/>
              <a:gd name="connsiteX42" fmla="*/ 2821 w 10000"/>
              <a:gd name="connsiteY42" fmla="*/ 10417 h 10599"/>
              <a:gd name="connsiteX43" fmla="*/ 2166 w 10000"/>
              <a:gd name="connsiteY43" fmla="*/ 8542 h 10599"/>
              <a:gd name="connsiteX44" fmla="*/ 1738 w 10000"/>
              <a:gd name="connsiteY44" fmla="*/ 7917 h 10599"/>
              <a:gd name="connsiteX45" fmla="*/ 1511 w 10000"/>
              <a:gd name="connsiteY45" fmla="*/ 6667 h 10599"/>
              <a:gd name="connsiteX46" fmla="*/ 1511 w 10000"/>
              <a:gd name="connsiteY46" fmla="*/ 5807 h 10599"/>
              <a:gd name="connsiteX47" fmla="*/ 1310 w 10000"/>
              <a:gd name="connsiteY47" fmla="*/ 6224 h 10599"/>
              <a:gd name="connsiteX48" fmla="*/ 856 w 10000"/>
              <a:gd name="connsiteY48" fmla="*/ 6432 h 10599"/>
              <a:gd name="connsiteX49" fmla="*/ 202 w 10000"/>
              <a:gd name="connsiteY49" fmla="*/ 5807 h 10599"/>
              <a:gd name="connsiteX50" fmla="*/ 655 w 10000"/>
              <a:gd name="connsiteY50" fmla="*/ 5807 h 10599"/>
              <a:gd name="connsiteX51" fmla="*/ 655 w 10000"/>
              <a:gd name="connsiteY51" fmla="*/ 5599 h 10599"/>
              <a:gd name="connsiteX52" fmla="*/ 428 w 10000"/>
              <a:gd name="connsiteY52" fmla="*/ 5599 h 10599"/>
              <a:gd name="connsiteX53" fmla="*/ 0 w 10000"/>
              <a:gd name="connsiteY53" fmla="*/ 5417 h 10599"/>
              <a:gd name="connsiteX54" fmla="*/ 202 w 10000"/>
              <a:gd name="connsiteY54" fmla="*/ 5182 h 10599"/>
              <a:gd name="connsiteX55" fmla="*/ 856 w 10000"/>
              <a:gd name="connsiteY55" fmla="*/ 5182 h 10599"/>
              <a:gd name="connsiteX56" fmla="*/ 856 w 10000"/>
              <a:gd name="connsiteY56" fmla="*/ 4974 h 10599"/>
              <a:gd name="connsiteX57" fmla="*/ 856 w 10000"/>
              <a:gd name="connsiteY57" fmla="*/ 4557 h 10599"/>
              <a:gd name="connsiteX58" fmla="*/ 655 w 10000"/>
              <a:gd name="connsiteY58" fmla="*/ 4557 h 10599"/>
              <a:gd name="connsiteX59" fmla="*/ 655 w 10000"/>
              <a:gd name="connsiteY59" fmla="*/ 4349 h 10599"/>
              <a:gd name="connsiteX60" fmla="*/ 428 w 10000"/>
              <a:gd name="connsiteY60" fmla="*/ 4349 h 10599"/>
              <a:gd name="connsiteX61" fmla="*/ 428 w 10000"/>
              <a:gd name="connsiteY61" fmla="*/ 3932 h 10599"/>
              <a:gd name="connsiteX62" fmla="*/ 655 w 10000"/>
              <a:gd name="connsiteY62" fmla="*/ 3724 h 10599"/>
              <a:gd name="connsiteX63" fmla="*/ 856 w 10000"/>
              <a:gd name="connsiteY63" fmla="*/ 3932 h 10599"/>
              <a:gd name="connsiteX64" fmla="*/ 1310 w 10000"/>
              <a:gd name="connsiteY64" fmla="*/ 3724 h 10599"/>
              <a:gd name="connsiteX65" fmla="*/ 2393 w 10000"/>
              <a:gd name="connsiteY65" fmla="*/ 2474 h 10599"/>
              <a:gd name="connsiteX66" fmla="*/ 2166 w 10000"/>
              <a:gd name="connsiteY66" fmla="*/ 2292 h 10599"/>
              <a:gd name="connsiteX67" fmla="*/ 2393 w 10000"/>
              <a:gd name="connsiteY67" fmla="*/ 2292 h 10599"/>
              <a:gd name="connsiteX68" fmla="*/ 2393 w 10000"/>
              <a:gd name="connsiteY68" fmla="*/ 2057 h 10599"/>
              <a:gd name="connsiteX69" fmla="*/ 2596 w 10000"/>
              <a:gd name="connsiteY69" fmla="*/ 1849 h 10599"/>
              <a:gd name="connsiteX70" fmla="*/ 2166 w 10000"/>
              <a:gd name="connsiteY70" fmla="*/ 1432 h 10599"/>
              <a:gd name="connsiteX71" fmla="*/ 1965 w 10000"/>
              <a:gd name="connsiteY71" fmla="*/ 1224 h 10599"/>
              <a:gd name="connsiteX72" fmla="*/ 2189 w 10000"/>
              <a:gd name="connsiteY72" fmla="*/ 807 h 10599"/>
              <a:gd name="connsiteX73" fmla="*/ 1940 w 10000"/>
              <a:gd name="connsiteY73" fmla="*/ 417 h 10599"/>
              <a:gd name="connsiteX74" fmla="*/ 2596 w 10000"/>
              <a:gd name="connsiteY74" fmla="*/ 0 h 10599"/>
              <a:gd name="connsiteX75" fmla="*/ 3382 w 10000"/>
              <a:gd name="connsiteY75" fmla="*/ 599 h 10599"/>
              <a:gd name="connsiteX76" fmla="*/ 4131 w 10000"/>
              <a:gd name="connsiteY76" fmla="*/ 495 h 10599"/>
              <a:gd name="connsiteX77" fmla="*/ 4131 w 10000"/>
              <a:gd name="connsiteY77" fmla="*/ 807 h 10599"/>
              <a:gd name="connsiteX78" fmla="*/ 4131 w 10000"/>
              <a:gd name="connsiteY78" fmla="*/ 1224 h 10599"/>
              <a:gd name="connsiteX79" fmla="*/ 3703 w 10000"/>
              <a:gd name="connsiteY79" fmla="*/ 1667 h 10599"/>
              <a:gd name="connsiteX80" fmla="*/ 3904 w 10000"/>
              <a:gd name="connsiteY80" fmla="*/ 2057 h 10599"/>
              <a:gd name="connsiteX81" fmla="*/ 3476 w 10000"/>
              <a:gd name="connsiteY81" fmla="*/ 2057 h 10599"/>
              <a:gd name="connsiteX82" fmla="*/ 3703 w 10000"/>
              <a:gd name="connsiteY82" fmla="*/ 2682 h 10599"/>
              <a:gd name="connsiteX83" fmla="*/ 4358 w 10000"/>
              <a:gd name="connsiteY83" fmla="*/ 2917 h 10599"/>
              <a:gd name="connsiteX84" fmla="*/ 4131 w 10000"/>
              <a:gd name="connsiteY84" fmla="*/ 3542 h 10599"/>
              <a:gd name="connsiteX85" fmla="*/ 4559 w 10000"/>
              <a:gd name="connsiteY85" fmla="*/ 3724 h 10599"/>
              <a:gd name="connsiteX86" fmla="*/ 6524 w 10000"/>
              <a:gd name="connsiteY86" fmla="*/ 4349 h 10599"/>
              <a:gd name="connsiteX87" fmla="*/ 6751 w 10000"/>
              <a:gd name="connsiteY87" fmla="*/ 4349 h 10599"/>
              <a:gd name="connsiteX88" fmla="*/ 6751 w 10000"/>
              <a:gd name="connsiteY88" fmla="*/ 4167 h 10599"/>
              <a:gd name="connsiteX89" fmla="*/ 6751 w 10000"/>
              <a:gd name="connsiteY89" fmla="*/ 3724 h 10599"/>
              <a:gd name="connsiteX90" fmla="*/ 6952 w 10000"/>
              <a:gd name="connsiteY90" fmla="*/ 3724 h 10599"/>
              <a:gd name="connsiteX91" fmla="*/ 7179 w 10000"/>
              <a:gd name="connsiteY91" fmla="*/ 3932 h 10599"/>
              <a:gd name="connsiteX92" fmla="*/ 7179 w 10000"/>
              <a:gd name="connsiteY92" fmla="*/ 4167 h 10599"/>
              <a:gd name="connsiteX93" fmla="*/ 8035 w 10000"/>
              <a:gd name="connsiteY93" fmla="*/ 4167 h 10599"/>
              <a:gd name="connsiteX94" fmla="*/ 8262 w 10000"/>
              <a:gd name="connsiteY94" fmla="*/ 4167 h 10599"/>
              <a:gd name="connsiteX95" fmla="*/ 8035 w 10000"/>
              <a:gd name="connsiteY95" fmla="*/ 3724 h 10599"/>
              <a:gd name="connsiteX96" fmla="*/ 9144 w 10000"/>
              <a:gd name="connsiteY96" fmla="*/ 3307 h 10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10000" h="10599">
                <a:moveTo>
                  <a:pt x="9144" y="3307"/>
                </a:moveTo>
                <a:lnTo>
                  <a:pt x="9144" y="3307"/>
                </a:lnTo>
                <a:lnTo>
                  <a:pt x="9572" y="3307"/>
                </a:lnTo>
                <a:lnTo>
                  <a:pt x="10000" y="3724"/>
                </a:lnTo>
                <a:lnTo>
                  <a:pt x="10000" y="4167"/>
                </a:lnTo>
                <a:lnTo>
                  <a:pt x="9572" y="4167"/>
                </a:lnTo>
                <a:lnTo>
                  <a:pt x="9345" y="4349"/>
                </a:lnTo>
                <a:lnTo>
                  <a:pt x="8917" y="5182"/>
                </a:lnTo>
                <a:lnTo>
                  <a:pt x="8690" y="5417"/>
                </a:lnTo>
                <a:lnTo>
                  <a:pt x="8489" y="5807"/>
                </a:lnTo>
                <a:lnTo>
                  <a:pt x="8489" y="6042"/>
                </a:lnTo>
                <a:cubicBezTo>
                  <a:pt x="8413" y="5834"/>
                  <a:pt x="8338" y="5625"/>
                  <a:pt x="8262" y="5417"/>
                </a:cubicBezTo>
                <a:lnTo>
                  <a:pt x="8262" y="5182"/>
                </a:lnTo>
                <a:lnTo>
                  <a:pt x="8035" y="5417"/>
                </a:lnTo>
                <a:lnTo>
                  <a:pt x="7834" y="5417"/>
                </a:lnTo>
                <a:lnTo>
                  <a:pt x="7834" y="5182"/>
                </a:lnTo>
                <a:lnTo>
                  <a:pt x="8262" y="4792"/>
                </a:lnTo>
                <a:lnTo>
                  <a:pt x="7406" y="4792"/>
                </a:lnTo>
                <a:lnTo>
                  <a:pt x="7406" y="4349"/>
                </a:lnTo>
                <a:lnTo>
                  <a:pt x="7179" y="4349"/>
                </a:lnTo>
                <a:lnTo>
                  <a:pt x="6952" y="4349"/>
                </a:lnTo>
                <a:lnTo>
                  <a:pt x="6952" y="4557"/>
                </a:lnTo>
                <a:lnTo>
                  <a:pt x="6751" y="4974"/>
                </a:lnTo>
                <a:lnTo>
                  <a:pt x="6952" y="4974"/>
                </a:lnTo>
                <a:cubicBezTo>
                  <a:pt x="7028" y="5330"/>
                  <a:pt x="7103" y="5686"/>
                  <a:pt x="7179" y="6042"/>
                </a:cubicBezTo>
                <a:lnTo>
                  <a:pt x="6952" y="6042"/>
                </a:lnTo>
                <a:lnTo>
                  <a:pt x="6952" y="5807"/>
                </a:lnTo>
                <a:lnTo>
                  <a:pt x="6524" y="6042"/>
                </a:lnTo>
                <a:cubicBezTo>
                  <a:pt x="6448" y="6250"/>
                  <a:pt x="6373" y="6459"/>
                  <a:pt x="6297" y="6667"/>
                </a:cubicBezTo>
                <a:lnTo>
                  <a:pt x="5869" y="6849"/>
                </a:lnTo>
                <a:lnTo>
                  <a:pt x="4786" y="7682"/>
                </a:lnTo>
                <a:lnTo>
                  <a:pt x="4786" y="7917"/>
                </a:lnTo>
                <a:lnTo>
                  <a:pt x="4559" y="7917"/>
                </a:lnTo>
                <a:lnTo>
                  <a:pt x="4358" y="8099"/>
                </a:lnTo>
                <a:lnTo>
                  <a:pt x="4131" y="8099"/>
                </a:lnTo>
                <a:lnTo>
                  <a:pt x="4131" y="8307"/>
                </a:lnTo>
                <a:lnTo>
                  <a:pt x="4131" y="8932"/>
                </a:lnTo>
                <a:lnTo>
                  <a:pt x="3904" y="9349"/>
                </a:lnTo>
                <a:lnTo>
                  <a:pt x="3904" y="9974"/>
                </a:lnTo>
                <a:lnTo>
                  <a:pt x="3703" y="10182"/>
                </a:lnTo>
                <a:lnTo>
                  <a:pt x="3476" y="10417"/>
                </a:lnTo>
                <a:lnTo>
                  <a:pt x="3249" y="10599"/>
                </a:lnTo>
                <a:lnTo>
                  <a:pt x="2821" y="10417"/>
                </a:lnTo>
                <a:lnTo>
                  <a:pt x="2166" y="8542"/>
                </a:lnTo>
                <a:lnTo>
                  <a:pt x="1738" y="7917"/>
                </a:lnTo>
                <a:cubicBezTo>
                  <a:pt x="1662" y="7500"/>
                  <a:pt x="1587" y="7084"/>
                  <a:pt x="1511" y="6667"/>
                </a:cubicBezTo>
                <a:lnTo>
                  <a:pt x="1511" y="5807"/>
                </a:lnTo>
                <a:lnTo>
                  <a:pt x="1310" y="6224"/>
                </a:lnTo>
                <a:lnTo>
                  <a:pt x="856" y="6432"/>
                </a:lnTo>
                <a:lnTo>
                  <a:pt x="202" y="5807"/>
                </a:lnTo>
                <a:lnTo>
                  <a:pt x="655" y="5807"/>
                </a:lnTo>
                <a:lnTo>
                  <a:pt x="655" y="5599"/>
                </a:lnTo>
                <a:lnTo>
                  <a:pt x="428" y="5599"/>
                </a:lnTo>
                <a:lnTo>
                  <a:pt x="0" y="5417"/>
                </a:lnTo>
                <a:lnTo>
                  <a:pt x="202" y="5182"/>
                </a:lnTo>
                <a:lnTo>
                  <a:pt x="856" y="5182"/>
                </a:lnTo>
                <a:lnTo>
                  <a:pt x="856" y="4974"/>
                </a:lnTo>
                <a:lnTo>
                  <a:pt x="856" y="4557"/>
                </a:lnTo>
                <a:lnTo>
                  <a:pt x="655" y="4557"/>
                </a:lnTo>
                <a:lnTo>
                  <a:pt x="655" y="4349"/>
                </a:lnTo>
                <a:lnTo>
                  <a:pt x="428" y="4349"/>
                </a:lnTo>
                <a:lnTo>
                  <a:pt x="428" y="3932"/>
                </a:lnTo>
                <a:lnTo>
                  <a:pt x="655" y="3724"/>
                </a:lnTo>
                <a:lnTo>
                  <a:pt x="856" y="3932"/>
                </a:lnTo>
                <a:lnTo>
                  <a:pt x="1310" y="3724"/>
                </a:lnTo>
                <a:lnTo>
                  <a:pt x="2393" y="2474"/>
                </a:lnTo>
                <a:lnTo>
                  <a:pt x="2166" y="2292"/>
                </a:lnTo>
                <a:lnTo>
                  <a:pt x="2393" y="2292"/>
                </a:lnTo>
                <a:lnTo>
                  <a:pt x="2393" y="2057"/>
                </a:lnTo>
                <a:lnTo>
                  <a:pt x="2596" y="1849"/>
                </a:lnTo>
                <a:lnTo>
                  <a:pt x="2166" y="1432"/>
                </a:lnTo>
                <a:lnTo>
                  <a:pt x="1965" y="1224"/>
                </a:lnTo>
                <a:cubicBezTo>
                  <a:pt x="1925" y="1133"/>
                  <a:pt x="2193" y="941"/>
                  <a:pt x="2189" y="807"/>
                </a:cubicBezTo>
                <a:cubicBezTo>
                  <a:pt x="2185" y="673"/>
                  <a:pt x="1829" y="565"/>
                  <a:pt x="1940" y="417"/>
                </a:cubicBezTo>
                <a:lnTo>
                  <a:pt x="2596" y="0"/>
                </a:lnTo>
                <a:lnTo>
                  <a:pt x="3382" y="599"/>
                </a:lnTo>
                <a:lnTo>
                  <a:pt x="4131" y="495"/>
                </a:lnTo>
                <a:lnTo>
                  <a:pt x="4131" y="807"/>
                </a:lnTo>
                <a:lnTo>
                  <a:pt x="4131" y="1224"/>
                </a:lnTo>
                <a:lnTo>
                  <a:pt x="3703" y="1667"/>
                </a:lnTo>
                <a:lnTo>
                  <a:pt x="3904" y="2057"/>
                </a:lnTo>
                <a:lnTo>
                  <a:pt x="3476" y="2057"/>
                </a:lnTo>
                <a:cubicBezTo>
                  <a:pt x="3552" y="2265"/>
                  <a:pt x="3627" y="2474"/>
                  <a:pt x="3703" y="2682"/>
                </a:cubicBezTo>
                <a:lnTo>
                  <a:pt x="4358" y="2917"/>
                </a:lnTo>
                <a:cubicBezTo>
                  <a:pt x="4282" y="3125"/>
                  <a:pt x="4207" y="3334"/>
                  <a:pt x="4131" y="3542"/>
                </a:cubicBezTo>
                <a:lnTo>
                  <a:pt x="4559" y="3724"/>
                </a:lnTo>
                <a:lnTo>
                  <a:pt x="6524" y="4349"/>
                </a:lnTo>
                <a:lnTo>
                  <a:pt x="6751" y="4349"/>
                </a:lnTo>
                <a:lnTo>
                  <a:pt x="6751" y="4167"/>
                </a:lnTo>
                <a:lnTo>
                  <a:pt x="6751" y="3724"/>
                </a:lnTo>
                <a:lnTo>
                  <a:pt x="6952" y="3724"/>
                </a:lnTo>
                <a:lnTo>
                  <a:pt x="7179" y="3932"/>
                </a:lnTo>
                <a:lnTo>
                  <a:pt x="7179" y="4167"/>
                </a:lnTo>
                <a:lnTo>
                  <a:pt x="8035" y="4167"/>
                </a:lnTo>
                <a:lnTo>
                  <a:pt x="8262" y="4167"/>
                </a:lnTo>
                <a:lnTo>
                  <a:pt x="8035" y="3724"/>
                </a:lnTo>
                <a:lnTo>
                  <a:pt x="9144" y="3307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Freeform 280"/>
          <p:cNvSpPr>
            <a:spLocks/>
          </p:cNvSpPr>
          <p:nvPr/>
        </p:nvSpPr>
        <p:spPr bwMode="auto">
          <a:xfrm>
            <a:off x="6253108" y="4627363"/>
            <a:ext cx="23038" cy="23038"/>
          </a:xfrm>
          <a:custGeom>
            <a:avLst/>
            <a:gdLst>
              <a:gd name="T0" fmla="*/ 0 w 16"/>
              <a:gd name="T1" fmla="*/ 2223 h 15"/>
              <a:gd name="T2" fmla="*/ 0 w 16"/>
              <a:gd name="T3" fmla="*/ 2223 h 15"/>
              <a:gd name="T4" fmla="*/ 2084 w 16"/>
              <a:gd name="T5" fmla="*/ 2223 h 15"/>
              <a:gd name="T6" fmla="*/ 0 w 16"/>
              <a:gd name="T7" fmla="*/ 0 h 15"/>
              <a:gd name="T8" fmla="*/ 0 w 16"/>
              <a:gd name="T9" fmla="*/ 2223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0" y="15"/>
                </a:moveTo>
                <a:lnTo>
                  <a:pt x="0" y="15"/>
                </a:lnTo>
                <a:lnTo>
                  <a:pt x="16" y="15"/>
                </a:lnTo>
                <a:lnTo>
                  <a:pt x="0" y="0"/>
                </a:lnTo>
                <a:lnTo>
                  <a:pt x="0" y="15"/>
                </a:lnTo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Freeform 281"/>
          <p:cNvSpPr>
            <a:spLocks/>
          </p:cNvSpPr>
          <p:nvPr/>
        </p:nvSpPr>
        <p:spPr bwMode="auto">
          <a:xfrm>
            <a:off x="4033330" y="3957453"/>
            <a:ext cx="59238" cy="52656"/>
          </a:xfrm>
          <a:custGeom>
            <a:avLst/>
            <a:gdLst>
              <a:gd name="T0" fmla="*/ 0 w 34"/>
              <a:gd name="T1" fmla="*/ 3079 h 33"/>
              <a:gd name="T2" fmla="*/ 0 w 34"/>
              <a:gd name="T3" fmla="*/ 3079 h 33"/>
              <a:gd name="T4" fmla="*/ 4202 w 34"/>
              <a:gd name="T5" fmla="*/ 6158 h 33"/>
              <a:gd name="T6" fmla="*/ 8404 w 34"/>
              <a:gd name="T7" fmla="*/ 3079 h 33"/>
              <a:gd name="T8" fmla="*/ 4202 w 34"/>
              <a:gd name="T9" fmla="*/ 0 h 33"/>
              <a:gd name="T10" fmla="*/ 0 w 34"/>
              <a:gd name="T11" fmla="*/ 3079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4"/>
              <a:gd name="T19" fmla="*/ 0 h 33"/>
              <a:gd name="T20" fmla="*/ 34 w 34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4" h="33">
                <a:moveTo>
                  <a:pt x="0" y="17"/>
                </a:moveTo>
                <a:lnTo>
                  <a:pt x="0" y="17"/>
                </a:lnTo>
                <a:lnTo>
                  <a:pt x="17" y="33"/>
                </a:lnTo>
                <a:lnTo>
                  <a:pt x="34" y="17"/>
                </a:lnTo>
                <a:lnTo>
                  <a:pt x="17" y="0"/>
                </a:lnTo>
                <a:lnTo>
                  <a:pt x="0" y="17"/>
                </a:lnTo>
              </a:path>
            </a:pathLst>
          </a:custGeom>
          <a:solidFill>
            <a:srgbClr val="D8CEB8"/>
          </a:solidFill>
          <a:ln w="9525">
            <a:solidFill>
              <a:srgbClr val="BBAD87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Freeform 282"/>
          <p:cNvSpPr>
            <a:spLocks/>
          </p:cNvSpPr>
          <p:nvPr/>
        </p:nvSpPr>
        <p:spPr bwMode="auto">
          <a:xfrm>
            <a:off x="8754263" y="3268184"/>
            <a:ext cx="312646" cy="368591"/>
          </a:xfrm>
          <a:custGeom>
            <a:avLst/>
            <a:gdLst>
              <a:gd name="T0" fmla="*/ 38100 w 190"/>
              <a:gd name="T1" fmla="*/ 42069 h 224"/>
              <a:gd name="T2" fmla="*/ 38100 w 190"/>
              <a:gd name="T3" fmla="*/ 42069 h 224"/>
              <a:gd name="T4" fmla="*/ 38100 w 190"/>
              <a:gd name="T5" fmla="*/ 34925 h 224"/>
              <a:gd name="T6" fmla="*/ 30956 w 190"/>
              <a:gd name="T7" fmla="*/ 28575 h 224"/>
              <a:gd name="T8" fmla="*/ 30956 w 190"/>
              <a:gd name="T9" fmla="*/ 25400 h 224"/>
              <a:gd name="T10" fmla="*/ 17463 w 190"/>
              <a:gd name="T11" fmla="*/ 15875 h 224"/>
              <a:gd name="T12" fmla="*/ 23813 w 190"/>
              <a:gd name="T13" fmla="*/ 13494 h 224"/>
              <a:gd name="T14" fmla="*/ 20638 w 190"/>
              <a:gd name="T15" fmla="*/ 9525 h 224"/>
              <a:gd name="T16" fmla="*/ 14288 w 190"/>
              <a:gd name="T17" fmla="*/ 6350 h 224"/>
              <a:gd name="T18" fmla="*/ 10319 w 190"/>
              <a:gd name="T19" fmla="*/ 0 h 224"/>
              <a:gd name="T20" fmla="*/ 7144 w 190"/>
              <a:gd name="T21" fmla="*/ 0 h 224"/>
              <a:gd name="T22" fmla="*/ 7144 w 190"/>
              <a:gd name="T23" fmla="*/ 6350 h 224"/>
              <a:gd name="T24" fmla="*/ 3969 w 190"/>
              <a:gd name="T25" fmla="*/ 6350 h 224"/>
              <a:gd name="T26" fmla="*/ 3969 w 190"/>
              <a:gd name="T27" fmla="*/ 3969 h 224"/>
              <a:gd name="T28" fmla="*/ 0 w 190"/>
              <a:gd name="T29" fmla="*/ 9525 h 224"/>
              <a:gd name="T30" fmla="*/ 0 w 190"/>
              <a:gd name="T31" fmla="*/ 13494 h 224"/>
              <a:gd name="T32" fmla="*/ 3969 w 190"/>
              <a:gd name="T33" fmla="*/ 15875 h 224"/>
              <a:gd name="T34" fmla="*/ 3969 w 190"/>
              <a:gd name="T35" fmla="*/ 25400 h 224"/>
              <a:gd name="T36" fmla="*/ 10319 w 190"/>
              <a:gd name="T37" fmla="*/ 22225 h 224"/>
              <a:gd name="T38" fmla="*/ 17463 w 190"/>
              <a:gd name="T39" fmla="*/ 19050 h 224"/>
              <a:gd name="T40" fmla="*/ 20638 w 190"/>
              <a:gd name="T41" fmla="*/ 25400 h 224"/>
              <a:gd name="T42" fmla="*/ 23813 w 190"/>
              <a:gd name="T43" fmla="*/ 32544 h 224"/>
              <a:gd name="T44" fmla="*/ 27781 w 190"/>
              <a:gd name="T45" fmla="*/ 34925 h 224"/>
              <a:gd name="T46" fmla="*/ 27781 w 190"/>
              <a:gd name="T47" fmla="*/ 42069 h 224"/>
              <a:gd name="T48" fmla="*/ 30956 w 190"/>
              <a:gd name="T49" fmla="*/ 44450 h 224"/>
              <a:gd name="T50" fmla="*/ 30956 w 190"/>
              <a:gd name="T51" fmla="*/ 42069 h 224"/>
              <a:gd name="T52" fmla="*/ 38100 w 190"/>
              <a:gd name="T53" fmla="*/ 42069 h 22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0"/>
              <a:gd name="T82" fmla="*/ 0 h 224"/>
              <a:gd name="T83" fmla="*/ 190 w 190"/>
              <a:gd name="T84" fmla="*/ 224 h 22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0" h="224">
                <a:moveTo>
                  <a:pt x="190" y="209"/>
                </a:moveTo>
                <a:lnTo>
                  <a:pt x="190" y="209"/>
                </a:lnTo>
                <a:lnTo>
                  <a:pt x="190" y="176"/>
                </a:lnTo>
                <a:lnTo>
                  <a:pt x="156" y="144"/>
                </a:lnTo>
                <a:lnTo>
                  <a:pt x="156" y="128"/>
                </a:lnTo>
                <a:lnTo>
                  <a:pt x="87" y="80"/>
                </a:lnTo>
                <a:lnTo>
                  <a:pt x="121" y="65"/>
                </a:lnTo>
                <a:lnTo>
                  <a:pt x="104" y="48"/>
                </a:lnTo>
                <a:lnTo>
                  <a:pt x="69" y="32"/>
                </a:lnTo>
                <a:lnTo>
                  <a:pt x="52" y="0"/>
                </a:lnTo>
                <a:lnTo>
                  <a:pt x="35" y="0"/>
                </a:lnTo>
                <a:lnTo>
                  <a:pt x="35" y="32"/>
                </a:lnTo>
                <a:lnTo>
                  <a:pt x="18" y="32"/>
                </a:lnTo>
                <a:lnTo>
                  <a:pt x="18" y="17"/>
                </a:lnTo>
                <a:lnTo>
                  <a:pt x="0" y="48"/>
                </a:lnTo>
                <a:lnTo>
                  <a:pt x="0" y="65"/>
                </a:lnTo>
                <a:lnTo>
                  <a:pt x="18" y="80"/>
                </a:lnTo>
                <a:lnTo>
                  <a:pt x="18" y="128"/>
                </a:lnTo>
                <a:lnTo>
                  <a:pt x="52" y="113"/>
                </a:lnTo>
                <a:lnTo>
                  <a:pt x="87" y="96"/>
                </a:lnTo>
                <a:lnTo>
                  <a:pt x="104" y="128"/>
                </a:lnTo>
                <a:lnTo>
                  <a:pt x="121" y="161"/>
                </a:lnTo>
                <a:lnTo>
                  <a:pt x="138" y="176"/>
                </a:lnTo>
                <a:lnTo>
                  <a:pt x="138" y="209"/>
                </a:lnTo>
                <a:lnTo>
                  <a:pt x="156" y="224"/>
                </a:lnTo>
                <a:lnTo>
                  <a:pt x="156" y="209"/>
                </a:lnTo>
                <a:lnTo>
                  <a:pt x="190" y="209"/>
                </a:lnTo>
                <a:close/>
              </a:path>
            </a:pathLst>
          </a:custGeom>
          <a:solidFill>
            <a:srgbClr val="B2B2B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4" name="Freeform 283"/>
          <p:cNvSpPr>
            <a:spLocks/>
          </p:cNvSpPr>
          <p:nvPr/>
        </p:nvSpPr>
        <p:spPr bwMode="auto">
          <a:xfrm>
            <a:off x="6990289" y="2557329"/>
            <a:ext cx="648974" cy="658199"/>
          </a:xfrm>
          <a:custGeom>
            <a:avLst/>
            <a:gdLst>
              <a:gd name="T0" fmla="*/ 3168 w 449"/>
              <a:gd name="T1" fmla="*/ 69676 h 401"/>
              <a:gd name="T2" fmla="*/ 3168 w 449"/>
              <a:gd name="T3" fmla="*/ 69676 h 401"/>
              <a:gd name="T4" fmla="*/ 3168 w 449"/>
              <a:gd name="T5" fmla="*/ 63342 h 401"/>
              <a:gd name="T6" fmla="*/ 10296 w 449"/>
              <a:gd name="T7" fmla="*/ 60175 h 401"/>
              <a:gd name="T8" fmla="*/ 6336 w 449"/>
              <a:gd name="T9" fmla="*/ 53840 h 401"/>
              <a:gd name="T10" fmla="*/ 3168 w 449"/>
              <a:gd name="T11" fmla="*/ 50673 h 401"/>
              <a:gd name="T12" fmla="*/ 0 w 449"/>
              <a:gd name="T13" fmla="*/ 44339 h 401"/>
              <a:gd name="T14" fmla="*/ 6336 w 449"/>
              <a:gd name="T15" fmla="*/ 47506 h 401"/>
              <a:gd name="T16" fmla="*/ 26927 w 449"/>
              <a:gd name="T17" fmla="*/ 44339 h 401"/>
              <a:gd name="T18" fmla="*/ 26927 w 449"/>
              <a:gd name="T19" fmla="*/ 38005 h 401"/>
              <a:gd name="T20" fmla="*/ 30887 w 449"/>
              <a:gd name="T21" fmla="*/ 34838 h 401"/>
              <a:gd name="T22" fmla="*/ 44351 w 449"/>
              <a:gd name="T23" fmla="*/ 31671 h 401"/>
              <a:gd name="T24" fmla="*/ 44351 w 449"/>
              <a:gd name="T25" fmla="*/ 25337 h 401"/>
              <a:gd name="T26" fmla="*/ 47519 w 449"/>
              <a:gd name="T27" fmla="*/ 22170 h 401"/>
              <a:gd name="T28" fmla="*/ 47519 w 449"/>
              <a:gd name="T29" fmla="*/ 19002 h 401"/>
              <a:gd name="T30" fmla="*/ 50687 w 449"/>
              <a:gd name="T31" fmla="*/ 19002 h 401"/>
              <a:gd name="T32" fmla="*/ 54647 w 449"/>
              <a:gd name="T33" fmla="*/ 12668 h 401"/>
              <a:gd name="T34" fmla="*/ 54647 w 449"/>
              <a:gd name="T35" fmla="*/ 6334 h 401"/>
              <a:gd name="T36" fmla="*/ 60983 w 449"/>
              <a:gd name="T37" fmla="*/ 3167 h 401"/>
              <a:gd name="T38" fmla="*/ 68110 w 449"/>
              <a:gd name="T39" fmla="*/ 0 h 401"/>
              <a:gd name="T40" fmla="*/ 71278 w 449"/>
              <a:gd name="T41" fmla="*/ 0 h 401"/>
              <a:gd name="T42" fmla="*/ 78406 w 449"/>
              <a:gd name="T43" fmla="*/ 3167 h 401"/>
              <a:gd name="T44" fmla="*/ 81574 w 449"/>
              <a:gd name="T45" fmla="*/ 6334 h 401"/>
              <a:gd name="T46" fmla="*/ 88702 w 449"/>
              <a:gd name="T47" fmla="*/ 9501 h 401"/>
              <a:gd name="T48" fmla="*/ 85534 w 449"/>
              <a:gd name="T49" fmla="*/ 12668 h 401"/>
              <a:gd name="T50" fmla="*/ 78406 w 449"/>
              <a:gd name="T51" fmla="*/ 15835 h 401"/>
              <a:gd name="T52" fmla="*/ 71278 w 449"/>
              <a:gd name="T53" fmla="*/ 12668 h 401"/>
              <a:gd name="T54" fmla="*/ 68110 w 449"/>
              <a:gd name="T55" fmla="*/ 15835 h 401"/>
              <a:gd name="T56" fmla="*/ 71278 w 449"/>
              <a:gd name="T57" fmla="*/ 19002 h 401"/>
              <a:gd name="T58" fmla="*/ 68110 w 449"/>
              <a:gd name="T59" fmla="*/ 25337 h 401"/>
              <a:gd name="T60" fmla="*/ 75238 w 449"/>
              <a:gd name="T61" fmla="*/ 28504 h 401"/>
              <a:gd name="T62" fmla="*/ 75238 w 449"/>
              <a:gd name="T63" fmla="*/ 31671 h 401"/>
              <a:gd name="T64" fmla="*/ 71278 w 449"/>
              <a:gd name="T65" fmla="*/ 31671 h 401"/>
              <a:gd name="T66" fmla="*/ 75238 w 449"/>
              <a:gd name="T67" fmla="*/ 34838 h 401"/>
              <a:gd name="T68" fmla="*/ 57815 w 449"/>
              <a:gd name="T69" fmla="*/ 53840 h 401"/>
              <a:gd name="T70" fmla="*/ 50687 w 449"/>
              <a:gd name="T71" fmla="*/ 57007 h 401"/>
              <a:gd name="T72" fmla="*/ 47519 w 449"/>
              <a:gd name="T73" fmla="*/ 53840 h 401"/>
              <a:gd name="T74" fmla="*/ 44351 w 449"/>
              <a:gd name="T75" fmla="*/ 57007 h 401"/>
              <a:gd name="T76" fmla="*/ 44351 w 449"/>
              <a:gd name="T77" fmla="*/ 63342 h 401"/>
              <a:gd name="T78" fmla="*/ 47519 w 449"/>
              <a:gd name="T79" fmla="*/ 63342 h 401"/>
              <a:gd name="T80" fmla="*/ 47519 w 449"/>
              <a:gd name="T81" fmla="*/ 66509 h 401"/>
              <a:gd name="T82" fmla="*/ 50687 w 449"/>
              <a:gd name="T83" fmla="*/ 66509 h 401"/>
              <a:gd name="T84" fmla="*/ 50687 w 449"/>
              <a:gd name="T85" fmla="*/ 72843 h 401"/>
              <a:gd name="T86" fmla="*/ 50687 w 449"/>
              <a:gd name="T87" fmla="*/ 76010 h 401"/>
              <a:gd name="T88" fmla="*/ 40391 w 449"/>
              <a:gd name="T89" fmla="*/ 76010 h 401"/>
              <a:gd name="T90" fmla="*/ 37223 w 449"/>
              <a:gd name="T91" fmla="*/ 79177 h 401"/>
              <a:gd name="T92" fmla="*/ 34055 w 449"/>
              <a:gd name="T93" fmla="*/ 76010 h 401"/>
              <a:gd name="T94" fmla="*/ 30887 w 449"/>
              <a:gd name="T95" fmla="*/ 69676 h 401"/>
              <a:gd name="T96" fmla="*/ 20592 w 449"/>
              <a:gd name="T97" fmla="*/ 69676 h 401"/>
              <a:gd name="T98" fmla="*/ 13464 w 449"/>
              <a:gd name="T99" fmla="*/ 69676 h 401"/>
              <a:gd name="T100" fmla="*/ 3168 w 449"/>
              <a:gd name="T101" fmla="*/ 69676 h 40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49"/>
              <a:gd name="T154" fmla="*/ 0 h 401"/>
              <a:gd name="T155" fmla="*/ 449 w 449"/>
              <a:gd name="T156" fmla="*/ 401 h 401"/>
              <a:gd name="connsiteX0" fmla="*/ 379 w 9621"/>
              <a:gd name="connsiteY0" fmla="*/ 8803 h 10000"/>
              <a:gd name="connsiteX1" fmla="*/ 379 w 9621"/>
              <a:gd name="connsiteY1" fmla="*/ 8803 h 10000"/>
              <a:gd name="connsiteX2" fmla="*/ 379 w 9621"/>
              <a:gd name="connsiteY2" fmla="*/ 7980 h 10000"/>
              <a:gd name="connsiteX3" fmla="*/ 1158 w 9621"/>
              <a:gd name="connsiteY3" fmla="*/ 7606 h 10000"/>
              <a:gd name="connsiteX4" fmla="*/ 780 w 9621"/>
              <a:gd name="connsiteY4" fmla="*/ 6783 h 10000"/>
              <a:gd name="connsiteX5" fmla="*/ 379 w 9621"/>
              <a:gd name="connsiteY5" fmla="*/ 6409 h 10000"/>
              <a:gd name="connsiteX6" fmla="*/ 0 w 9621"/>
              <a:gd name="connsiteY6" fmla="*/ 5586 h 10000"/>
              <a:gd name="connsiteX7" fmla="*/ 780 w 9621"/>
              <a:gd name="connsiteY7" fmla="*/ 5985 h 10000"/>
              <a:gd name="connsiteX8" fmla="*/ 3073 w 9621"/>
              <a:gd name="connsiteY8" fmla="*/ 5586 h 10000"/>
              <a:gd name="connsiteX9" fmla="*/ 3073 w 9621"/>
              <a:gd name="connsiteY9" fmla="*/ 4788 h 10000"/>
              <a:gd name="connsiteX10" fmla="*/ 3474 w 9621"/>
              <a:gd name="connsiteY10" fmla="*/ 4389 h 10000"/>
              <a:gd name="connsiteX11" fmla="*/ 5011 w 9621"/>
              <a:gd name="connsiteY11" fmla="*/ 4015 h 10000"/>
              <a:gd name="connsiteX12" fmla="*/ 5011 w 9621"/>
              <a:gd name="connsiteY12" fmla="*/ 3192 h 10000"/>
              <a:gd name="connsiteX13" fmla="*/ 5390 w 9621"/>
              <a:gd name="connsiteY13" fmla="*/ 2818 h 10000"/>
              <a:gd name="connsiteX14" fmla="*/ 5390 w 9621"/>
              <a:gd name="connsiteY14" fmla="*/ 2394 h 10000"/>
              <a:gd name="connsiteX15" fmla="*/ 5768 w 9621"/>
              <a:gd name="connsiteY15" fmla="*/ 2394 h 10000"/>
              <a:gd name="connsiteX16" fmla="*/ 6169 w 9621"/>
              <a:gd name="connsiteY16" fmla="*/ 1621 h 10000"/>
              <a:gd name="connsiteX17" fmla="*/ 6169 w 9621"/>
              <a:gd name="connsiteY17" fmla="*/ 798 h 10000"/>
              <a:gd name="connsiteX18" fmla="*/ 6927 w 9621"/>
              <a:gd name="connsiteY18" fmla="*/ 424 h 10000"/>
              <a:gd name="connsiteX19" fmla="*/ 7706 w 9621"/>
              <a:gd name="connsiteY19" fmla="*/ 0 h 10000"/>
              <a:gd name="connsiteX20" fmla="*/ 8085 w 9621"/>
              <a:gd name="connsiteY20" fmla="*/ 0 h 10000"/>
              <a:gd name="connsiteX21" fmla="*/ 8842 w 9621"/>
              <a:gd name="connsiteY21" fmla="*/ 424 h 10000"/>
              <a:gd name="connsiteX22" fmla="*/ 9243 w 9621"/>
              <a:gd name="connsiteY22" fmla="*/ 798 h 10000"/>
              <a:gd name="connsiteX23" fmla="*/ 9621 w 9621"/>
              <a:gd name="connsiteY23" fmla="*/ 1621 h 10000"/>
              <a:gd name="connsiteX24" fmla="*/ 8842 w 9621"/>
              <a:gd name="connsiteY24" fmla="*/ 1995 h 10000"/>
              <a:gd name="connsiteX25" fmla="*/ 8085 w 9621"/>
              <a:gd name="connsiteY25" fmla="*/ 1621 h 10000"/>
              <a:gd name="connsiteX26" fmla="*/ 7706 w 9621"/>
              <a:gd name="connsiteY26" fmla="*/ 1995 h 10000"/>
              <a:gd name="connsiteX27" fmla="*/ 8085 w 9621"/>
              <a:gd name="connsiteY27" fmla="*/ 2394 h 10000"/>
              <a:gd name="connsiteX28" fmla="*/ 7706 w 9621"/>
              <a:gd name="connsiteY28" fmla="*/ 3192 h 10000"/>
              <a:gd name="connsiteX29" fmla="*/ 8463 w 9621"/>
              <a:gd name="connsiteY29" fmla="*/ 3591 h 10000"/>
              <a:gd name="connsiteX30" fmla="*/ 8463 w 9621"/>
              <a:gd name="connsiteY30" fmla="*/ 4015 h 10000"/>
              <a:gd name="connsiteX31" fmla="*/ 8085 w 9621"/>
              <a:gd name="connsiteY31" fmla="*/ 4015 h 10000"/>
              <a:gd name="connsiteX32" fmla="*/ 8463 w 9621"/>
              <a:gd name="connsiteY32" fmla="*/ 4389 h 10000"/>
              <a:gd name="connsiteX33" fmla="*/ 6548 w 9621"/>
              <a:gd name="connsiteY33" fmla="*/ 6783 h 10000"/>
              <a:gd name="connsiteX34" fmla="*/ 5768 w 9621"/>
              <a:gd name="connsiteY34" fmla="*/ 7182 h 10000"/>
              <a:gd name="connsiteX35" fmla="*/ 5390 w 9621"/>
              <a:gd name="connsiteY35" fmla="*/ 6783 h 10000"/>
              <a:gd name="connsiteX36" fmla="*/ 5011 w 9621"/>
              <a:gd name="connsiteY36" fmla="*/ 7182 h 10000"/>
              <a:gd name="connsiteX37" fmla="*/ 5011 w 9621"/>
              <a:gd name="connsiteY37" fmla="*/ 7980 h 10000"/>
              <a:gd name="connsiteX38" fmla="*/ 5390 w 9621"/>
              <a:gd name="connsiteY38" fmla="*/ 7980 h 10000"/>
              <a:gd name="connsiteX39" fmla="*/ 5390 w 9621"/>
              <a:gd name="connsiteY39" fmla="*/ 8379 h 10000"/>
              <a:gd name="connsiteX40" fmla="*/ 5768 w 9621"/>
              <a:gd name="connsiteY40" fmla="*/ 8379 h 10000"/>
              <a:gd name="connsiteX41" fmla="*/ 5768 w 9621"/>
              <a:gd name="connsiteY41" fmla="*/ 9177 h 10000"/>
              <a:gd name="connsiteX42" fmla="*/ 5768 w 9621"/>
              <a:gd name="connsiteY42" fmla="*/ 9576 h 10000"/>
              <a:gd name="connsiteX43" fmla="*/ 4610 w 9621"/>
              <a:gd name="connsiteY43" fmla="*/ 9576 h 10000"/>
              <a:gd name="connsiteX44" fmla="*/ 4232 w 9621"/>
              <a:gd name="connsiteY44" fmla="*/ 10000 h 10000"/>
              <a:gd name="connsiteX45" fmla="*/ 3853 w 9621"/>
              <a:gd name="connsiteY45" fmla="*/ 9576 h 10000"/>
              <a:gd name="connsiteX46" fmla="*/ 3474 w 9621"/>
              <a:gd name="connsiteY46" fmla="*/ 8803 h 10000"/>
              <a:gd name="connsiteX47" fmla="*/ 2316 w 9621"/>
              <a:gd name="connsiteY47" fmla="*/ 8803 h 10000"/>
              <a:gd name="connsiteX48" fmla="*/ 1537 w 9621"/>
              <a:gd name="connsiteY48" fmla="*/ 8803 h 10000"/>
              <a:gd name="connsiteX49" fmla="*/ 379 w 9621"/>
              <a:gd name="connsiteY49" fmla="*/ 8803 h 10000"/>
              <a:gd name="connsiteX0" fmla="*/ 394 w 10000"/>
              <a:gd name="connsiteY0" fmla="*/ 8803 h 10000"/>
              <a:gd name="connsiteX1" fmla="*/ 394 w 10000"/>
              <a:gd name="connsiteY1" fmla="*/ 8803 h 10000"/>
              <a:gd name="connsiteX2" fmla="*/ 394 w 10000"/>
              <a:gd name="connsiteY2" fmla="*/ 7980 h 10000"/>
              <a:gd name="connsiteX3" fmla="*/ 1204 w 10000"/>
              <a:gd name="connsiteY3" fmla="*/ 7606 h 10000"/>
              <a:gd name="connsiteX4" fmla="*/ 811 w 10000"/>
              <a:gd name="connsiteY4" fmla="*/ 6783 h 10000"/>
              <a:gd name="connsiteX5" fmla="*/ 394 w 10000"/>
              <a:gd name="connsiteY5" fmla="*/ 6409 h 10000"/>
              <a:gd name="connsiteX6" fmla="*/ 0 w 10000"/>
              <a:gd name="connsiteY6" fmla="*/ 5586 h 10000"/>
              <a:gd name="connsiteX7" fmla="*/ 811 w 10000"/>
              <a:gd name="connsiteY7" fmla="*/ 5985 h 10000"/>
              <a:gd name="connsiteX8" fmla="*/ 3194 w 10000"/>
              <a:gd name="connsiteY8" fmla="*/ 5586 h 10000"/>
              <a:gd name="connsiteX9" fmla="*/ 3194 w 10000"/>
              <a:gd name="connsiteY9" fmla="*/ 4788 h 10000"/>
              <a:gd name="connsiteX10" fmla="*/ 3611 w 10000"/>
              <a:gd name="connsiteY10" fmla="*/ 4389 h 10000"/>
              <a:gd name="connsiteX11" fmla="*/ 5208 w 10000"/>
              <a:gd name="connsiteY11" fmla="*/ 4015 h 10000"/>
              <a:gd name="connsiteX12" fmla="*/ 5208 w 10000"/>
              <a:gd name="connsiteY12" fmla="*/ 3192 h 10000"/>
              <a:gd name="connsiteX13" fmla="*/ 5602 w 10000"/>
              <a:gd name="connsiteY13" fmla="*/ 2818 h 10000"/>
              <a:gd name="connsiteX14" fmla="*/ 5602 w 10000"/>
              <a:gd name="connsiteY14" fmla="*/ 2394 h 10000"/>
              <a:gd name="connsiteX15" fmla="*/ 5995 w 10000"/>
              <a:gd name="connsiteY15" fmla="*/ 2394 h 10000"/>
              <a:gd name="connsiteX16" fmla="*/ 6412 w 10000"/>
              <a:gd name="connsiteY16" fmla="*/ 1621 h 10000"/>
              <a:gd name="connsiteX17" fmla="*/ 6412 w 10000"/>
              <a:gd name="connsiteY17" fmla="*/ 798 h 10000"/>
              <a:gd name="connsiteX18" fmla="*/ 7200 w 10000"/>
              <a:gd name="connsiteY18" fmla="*/ 424 h 10000"/>
              <a:gd name="connsiteX19" fmla="*/ 8010 w 10000"/>
              <a:gd name="connsiteY19" fmla="*/ 0 h 10000"/>
              <a:gd name="connsiteX20" fmla="*/ 8403 w 10000"/>
              <a:gd name="connsiteY20" fmla="*/ 0 h 10000"/>
              <a:gd name="connsiteX21" fmla="*/ 9190 w 10000"/>
              <a:gd name="connsiteY21" fmla="*/ 424 h 10000"/>
              <a:gd name="connsiteX22" fmla="*/ 10000 w 10000"/>
              <a:gd name="connsiteY22" fmla="*/ 1621 h 10000"/>
              <a:gd name="connsiteX23" fmla="*/ 9190 w 10000"/>
              <a:gd name="connsiteY23" fmla="*/ 1995 h 10000"/>
              <a:gd name="connsiteX24" fmla="*/ 8403 w 10000"/>
              <a:gd name="connsiteY24" fmla="*/ 1621 h 10000"/>
              <a:gd name="connsiteX25" fmla="*/ 8010 w 10000"/>
              <a:gd name="connsiteY25" fmla="*/ 1995 h 10000"/>
              <a:gd name="connsiteX26" fmla="*/ 8403 w 10000"/>
              <a:gd name="connsiteY26" fmla="*/ 2394 h 10000"/>
              <a:gd name="connsiteX27" fmla="*/ 8010 w 10000"/>
              <a:gd name="connsiteY27" fmla="*/ 3192 h 10000"/>
              <a:gd name="connsiteX28" fmla="*/ 8796 w 10000"/>
              <a:gd name="connsiteY28" fmla="*/ 3591 h 10000"/>
              <a:gd name="connsiteX29" fmla="*/ 8796 w 10000"/>
              <a:gd name="connsiteY29" fmla="*/ 4015 h 10000"/>
              <a:gd name="connsiteX30" fmla="*/ 8403 w 10000"/>
              <a:gd name="connsiteY30" fmla="*/ 4015 h 10000"/>
              <a:gd name="connsiteX31" fmla="*/ 8796 w 10000"/>
              <a:gd name="connsiteY31" fmla="*/ 4389 h 10000"/>
              <a:gd name="connsiteX32" fmla="*/ 6806 w 10000"/>
              <a:gd name="connsiteY32" fmla="*/ 6783 h 10000"/>
              <a:gd name="connsiteX33" fmla="*/ 5995 w 10000"/>
              <a:gd name="connsiteY33" fmla="*/ 7182 h 10000"/>
              <a:gd name="connsiteX34" fmla="*/ 5602 w 10000"/>
              <a:gd name="connsiteY34" fmla="*/ 6783 h 10000"/>
              <a:gd name="connsiteX35" fmla="*/ 5208 w 10000"/>
              <a:gd name="connsiteY35" fmla="*/ 7182 h 10000"/>
              <a:gd name="connsiteX36" fmla="*/ 5208 w 10000"/>
              <a:gd name="connsiteY36" fmla="*/ 7980 h 10000"/>
              <a:gd name="connsiteX37" fmla="*/ 5602 w 10000"/>
              <a:gd name="connsiteY37" fmla="*/ 7980 h 10000"/>
              <a:gd name="connsiteX38" fmla="*/ 5602 w 10000"/>
              <a:gd name="connsiteY38" fmla="*/ 8379 h 10000"/>
              <a:gd name="connsiteX39" fmla="*/ 5995 w 10000"/>
              <a:gd name="connsiteY39" fmla="*/ 8379 h 10000"/>
              <a:gd name="connsiteX40" fmla="*/ 5995 w 10000"/>
              <a:gd name="connsiteY40" fmla="*/ 9177 h 10000"/>
              <a:gd name="connsiteX41" fmla="*/ 5995 w 10000"/>
              <a:gd name="connsiteY41" fmla="*/ 9576 h 10000"/>
              <a:gd name="connsiteX42" fmla="*/ 4792 w 10000"/>
              <a:gd name="connsiteY42" fmla="*/ 9576 h 10000"/>
              <a:gd name="connsiteX43" fmla="*/ 4399 w 10000"/>
              <a:gd name="connsiteY43" fmla="*/ 10000 h 10000"/>
              <a:gd name="connsiteX44" fmla="*/ 4005 w 10000"/>
              <a:gd name="connsiteY44" fmla="*/ 9576 h 10000"/>
              <a:gd name="connsiteX45" fmla="*/ 3611 w 10000"/>
              <a:gd name="connsiteY45" fmla="*/ 8803 h 10000"/>
              <a:gd name="connsiteX46" fmla="*/ 2407 w 10000"/>
              <a:gd name="connsiteY46" fmla="*/ 8803 h 10000"/>
              <a:gd name="connsiteX47" fmla="*/ 1598 w 10000"/>
              <a:gd name="connsiteY47" fmla="*/ 8803 h 10000"/>
              <a:gd name="connsiteX48" fmla="*/ 394 w 10000"/>
              <a:gd name="connsiteY48" fmla="*/ 8803 h 10000"/>
              <a:gd name="connsiteX0" fmla="*/ 394 w 9190"/>
              <a:gd name="connsiteY0" fmla="*/ 8803 h 10000"/>
              <a:gd name="connsiteX1" fmla="*/ 394 w 9190"/>
              <a:gd name="connsiteY1" fmla="*/ 8803 h 10000"/>
              <a:gd name="connsiteX2" fmla="*/ 394 w 9190"/>
              <a:gd name="connsiteY2" fmla="*/ 7980 h 10000"/>
              <a:gd name="connsiteX3" fmla="*/ 1204 w 9190"/>
              <a:gd name="connsiteY3" fmla="*/ 7606 h 10000"/>
              <a:gd name="connsiteX4" fmla="*/ 811 w 9190"/>
              <a:gd name="connsiteY4" fmla="*/ 6783 h 10000"/>
              <a:gd name="connsiteX5" fmla="*/ 394 w 9190"/>
              <a:gd name="connsiteY5" fmla="*/ 6409 h 10000"/>
              <a:gd name="connsiteX6" fmla="*/ 0 w 9190"/>
              <a:gd name="connsiteY6" fmla="*/ 5586 h 10000"/>
              <a:gd name="connsiteX7" fmla="*/ 811 w 9190"/>
              <a:gd name="connsiteY7" fmla="*/ 5985 h 10000"/>
              <a:gd name="connsiteX8" fmla="*/ 3194 w 9190"/>
              <a:gd name="connsiteY8" fmla="*/ 5586 h 10000"/>
              <a:gd name="connsiteX9" fmla="*/ 3194 w 9190"/>
              <a:gd name="connsiteY9" fmla="*/ 4788 h 10000"/>
              <a:gd name="connsiteX10" fmla="*/ 3611 w 9190"/>
              <a:gd name="connsiteY10" fmla="*/ 4389 h 10000"/>
              <a:gd name="connsiteX11" fmla="*/ 5208 w 9190"/>
              <a:gd name="connsiteY11" fmla="*/ 4015 h 10000"/>
              <a:gd name="connsiteX12" fmla="*/ 5208 w 9190"/>
              <a:gd name="connsiteY12" fmla="*/ 3192 h 10000"/>
              <a:gd name="connsiteX13" fmla="*/ 5602 w 9190"/>
              <a:gd name="connsiteY13" fmla="*/ 2818 h 10000"/>
              <a:gd name="connsiteX14" fmla="*/ 5602 w 9190"/>
              <a:gd name="connsiteY14" fmla="*/ 2394 h 10000"/>
              <a:gd name="connsiteX15" fmla="*/ 5995 w 9190"/>
              <a:gd name="connsiteY15" fmla="*/ 2394 h 10000"/>
              <a:gd name="connsiteX16" fmla="*/ 6412 w 9190"/>
              <a:gd name="connsiteY16" fmla="*/ 1621 h 10000"/>
              <a:gd name="connsiteX17" fmla="*/ 6412 w 9190"/>
              <a:gd name="connsiteY17" fmla="*/ 798 h 10000"/>
              <a:gd name="connsiteX18" fmla="*/ 7200 w 9190"/>
              <a:gd name="connsiteY18" fmla="*/ 424 h 10000"/>
              <a:gd name="connsiteX19" fmla="*/ 8010 w 9190"/>
              <a:gd name="connsiteY19" fmla="*/ 0 h 10000"/>
              <a:gd name="connsiteX20" fmla="*/ 8403 w 9190"/>
              <a:gd name="connsiteY20" fmla="*/ 0 h 10000"/>
              <a:gd name="connsiteX21" fmla="*/ 9190 w 9190"/>
              <a:gd name="connsiteY21" fmla="*/ 424 h 10000"/>
              <a:gd name="connsiteX22" fmla="*/ 9190 w 9190"/>
              <a:gd name="connsiteY22" fmla="*/ 1995 h 10000"/>
              <a:gd name="connsiteX23" fmla="*/ 8403 w 9190"/>
              <a:gd name="connsiteY23" fmla="*/ 1621 h 10000"/>
              <a:gd name="connsiteX24" fmla="*/ 8010 w 9190"/>
              <a:gd name="connsiteY24" fmla="*/ 1995 h 10000"/>
              <a:gd name="connsiteX25" fmla="*/ 8403 w 9190"/>
              <a:gd name="connsiteY25" fmla="*/ 2394 h 10000"/>
              <a:gd name="connsiteX26" fmla="*/ 8010 w 9190"/>
              <a:gd name="connsiteY26" fmla="*/ 3192 h 10000"/>
              <a:gd name="connsiteX27" fmla="*/ 8796 w 9190"/>
              <a:gd name="connsiteY27" fmla="*/ 3591 h 10000"/>
              <a:gd name="connsiteX28" fmla="*/ 8796 w 9190"/>
              <a:gd name="connsiteY28" fmla="*/ 4015 h 10000"/>
              <a:gd name="connsiteX29" fmla="*/ 8403 w 9190"/>
              <a:gd name="connsiteY29" fmla="*/ 4015 h 10000"/>
              <a:gd name="connsiteX30" fmla="*/ 8796 w 9190"/>
              <a:gd name="connsiteY30" fmla="*/ 4389 h 10000"/>
              <a:gd name="connsiteX31" fmla="*/ 6806 w 9190"/>
              <a:gd name="connsiteY31" fmla="*/ 6783 h 10000"/>
              <a:gd name="connsiteX32" fmla="*/ 5995 w 9190"/>
              <a:gd name="connsiteY32" fmla="*/ 7182 h 10000"/>
              <a:gd name="connsiteX33" fmla="*/ 5602 w 9190"/>
              <a:gd name="connsiteY33" fmla="*/ 6783 h 10000"/>
              <a:gd name="connsiteX34" fmla="*/ 5208 w 9190"/>
              <a:gd name="connsiteY34" fmla="*/ 7182 h 10000"/>
              <a:gd name="connsiteX35" fmla="*/ 5208 w 9190"/>
              <a:gd name="connsiteY35" fmla="*/ 7980 h 10000"/>
              <a:gd name="connsiteX36" fmla="*/ 5602 w 9190"/>
              <a:gd name="connsiteY36" fmla="*/ 7980 h 10000"/>
              <a:gd name="connsiteX37" fmla="*/ 5602 w 9190"/>
              <a:gd name="connsiteY37" fmla="*/ 8379 h 10000"/>
              <a:gd name="connsiteX38" fmla="*/ 5995 w 9190"/>
              <a:gd name="connsiteY38" fmla="*/ 8379 h 10000"/>
              <a:gd name="connsiteX39" fmla="*/ 5995 w 9190"/>
              <a:gd name="connsiteY39" fmla="*/ 9177 h 10000"/>
              <a:gd name="connsiteX40" fmla="*/ 5995 w 9190"/>
              <a:gd name="connsiteY40" fmla="*/ 9576 h 10000"/>
              <a:gd name="connsiteX41" fmla="*/ 4792 w 9190"/>
              <a:gd name="connsiteY41" fmla="*/ 9576 h 10000"/>
              <a:gd name="connsiteX42" fmla="*/ 4399 w 9190"/>
              <a:gd name="connsiteY42" fmla="*/ 10000 h 10000"/>
              <a:gd name="connsiteX43" fmla="*/ 4005 w 9190"/>
              <a:gd name="connsiteY43" fmla="*/ 9576 h 10000"/>
              <a:gd name="connsiteX44" fmla="*/ 3611 w 9190"/>
              <a:gd name="connsiteY44" fmla="*/ 8803 h 10000"/>
              <a:gd name="connsiteX45" fmla="*/ 2407 w 9190"/>
              <a:gd name="connsiteY45" fmla="*/ 8803 h 10000"/>
              <a:gd name="connsiteX46" fmla="*/ 1598 w 9190"/>
              <a:gd name="connsiteY46" fmla="*/ 8803 h 10000"/>
              <a:gd name="connsiteX47" fmla="*/ 394 w 9190"/>
              <a:gd name="connsiteY47" fmla="*/ 8803 h 10000"/>
              <a:gd name="connsiteX0" fmla="*/ 429 w 10000"/>
              <a:gd name="connsiteY0" fmla="*/ 8803 h 10000"/>
              <a:gd name="connsiteX1" fmla="*/ 429 w 10000"/>
              <a:gd name="connsiteY1" fmla="*/ 8803 h 10000"/>
              <a:gd name="connsiteX2" fmla="*/ 429 w 10000"/>
              <a:gd name="connsiteY2" fmla="*/ 7980 h 10000"/>
              <a:gd name="connsiteX3" fmla="*/ 1310 w 10000"/>
              <a:gd name="connsiteY3" fmla="*/ 7606 h 10000"/>
              <a:gd name="connsiteX4" fmla="*/ 882 w 10000"/>
              <a:gd name="connsiteY4" fmla="*/ 6783 h 10000"/>
              <a:gd name="connsiteX5" fmla="*/ 429 w 10000"/>
              <a:gd name="connsiteY5" fmla="*/ 6409 h 10000"/>
              <a:gd name="connsiteX6" fmla="*/ 0 w 10000"/>
              <a:gd name="connsiteY6" fmla="*/ 5586 h 10000"/>
              <a:gd name="connsiteX7" fmla="*/ 882 w 10000"/>
              <a:gd name="connsiteY7" fmla="*/ 5985 h 10000"/>
              <a:gd name="connsiteX8" fmla="*/ 3476 w 10000"/>
              <a:gd name="connsiteY8" fmla="*/ 5586 h 10000"/>
              <a:gd name="connsiteX9" fmla="*/ 3476 w 10000"/>
              <a:gd name="connsiteY9" fmla="*/ 4788 h 10000"/>
              <a:gd name="connsiteX10" fmla="*/ 3929 w 10000"/>
              <a:gd name="connsiteY10" fmla="*/ 4389 h 10000"/>
              <a:gd name="connsiteX11" fmla="*/ 5667 w 10000"/>
              <a:gd name="connsiteY11" fmla="*/ 4015 h 10000"/>
              <a:gd name="connsiteX12" fmla="*/ 5667 w 10000"/>
              <a:gd name="connsiteY12" fmla="*/ 3192 h 10000"/>
              <a:gd name="connsiteX13" fmla="*/ 6096 w 10000"/>
              <a:gd name="connsiteY13" fmla="*/ 2818 h 10000"/>
              <a:gd name="connsiteX14" fmla="*/ 6096 w 10000"/>
              <a:gd name="connsiteY14" fmla="*/ 2394 h 10000"/>
              <a:gd name="connsiteX15" fmla="*/ 6523 w 10000"/>
              <a:gd name="connsiteY15" fmla="*/ 2394 h 10000"/>
              <a:gd name="connsiteX16" fmla="*/ 6977 w 10000"/>
              <a:gd name="connsiteY16" fmla="*/ 1621 h 10000"/>
              <a:gd name="connsiteX17" fmla="*/ 6977 w 10000"/>
              <a:gd name="connsiteY17" fmla="*/ 798 h 10000"/>
              <a:gd name="connsiteX18" fmla="*/ 7835 w 10000"/>
              <a:gd name="connsiteY18" fmla="*/ 424 h 10000"/>
              <a:gd name="connsiteX19" fmla="*/ 8716 w 10000"/>
              <a:gd name="connsiteY19" fmla="*/ 0 h 10000"/>
              <a:gd name="connsiteX20" fmla="*/ 9144 w 10000"/>
              <a:gd name="connsiteY20" fmla="*/ 0 h 10000"/>
              <a:gd name="connsiteX21" fmla="*/ 10000 w 10000"/>
              <a:gd name="connsiteY21" fmla="*/ 424 h 10000"/>
              <a:gd name="connsiteX22" fmla="*/ 9144 w 10000"/>
              <a:gd name="connsiteY22" fmla="*/ 1621 h 10000"/>
              <a:gd name="connsiteX23" fmla="*/ 8716 w 10000"/>
              <a:gd name="connsiteY23" fmla="*/ 1995 h 10000"/>
              <a:gd name="connsiteX24" fmla="*/ 9144 w 10000"/>
              <a:gd name="connsiteY24" fmla="*/ 2394 h 10000"/>
              <a:gd name="connsiteX25" fmla="*/ 8716 w 10000"/>
              <a:gd name="connsiteY25" fmla="*/ 3192 h 10000"/>
              <a:gd name="connsiteX26" fmla="*/ 9571 w 10000"/>
              <a:gd name="connsiteY26" fmla="*/ 3591 h 10000"/>
              <a:gd name="connsiteX27" fmla="*/ 9571 w 10000"/>
              <a:gd name="connsiteY27" fmla="*/ 4015 h 10000"/>
              <a:gd name="connsiteX28" fmla="*/ 9144 w 10000"/>
              <a:gd name="connsiteY28" fmla="*/ 4015 h 10000"/>
              <a:gd name="connsiteX29" fmla="*/ 9571 w 10000"/>
              <a:gd name="connsiteY29" fmla="*/ 4389 h 10000"/>
              <a:gd name="connsiteX30" fmla="*/ 7406 w 10000"/>
              <a:gd name="connsiteY30" fmla="*/ 6783 h 10000"/>
              <a:gd name="connsiteX31" fmla="*/ 6523 w 10000"/>
              <a:gd name="connsiteY31" fmla="*/ 7182 h 10000"/>
              <a:gd name="connsiteX32" fmla="*/ 6096 w 10000"/>
              <a:gd name="connsiteY32" fmla="*/ 6783 h 10000"/>
              <a:gd name="connsiteX33" fmla="*/ 5667 w 10000"/>
              <a:gd name="connsiteY33" fmla="*/ 7182 h 10000"/>
              <a:gd name="connsiteX34" fmla="*/ 5667 w 10000"/>
              <a:gd name="connsiteY34" fmla="*/ 7980 h 10000"/>
              <a:gd name="connsiteX35" fmla="*/ 6096 w 10000"/>
              <a:gd name="connsiteY35" fmla="*/ 7980 h 10000"/>
              <a:gd name="connsiteX36" fmla="*/ 6096 w 10000"/>
              <a:gd name="connsiteY36" fmla="*/ 8379 h 10000"/>
              <a:gd name="connsiteX37" fmla="*/ 6523 w 10000"/>
              <a:gd name="connsiteY37" fmla="*/ 8379 h 10000"/>
              <a:gd name="connsiteX38" fmla="*/ 6523 w 10000"/>
              <a:gd name="connsiteY38" fmla="*/ 9177 h 10000"/>
              <a:gd name="connsiteX39" fmla="*/ 6523 w 10000"/>
              <a:gd name="connsiteY39" fmla="*/ 9576 h 10000"/>
              <a:gd name="connsiteX40" fmla="*/ 5214 w 10000"/>
              <a:gd name="connsiteY40" fmla="*/ 9576 h 10000"/>
              <a:gd name="connsiteX41" fmla="*/ 4787 w 10000"/>
              <a:gd name="connsiteY41" fmla="*/ 10000 h 10000"/>
              <a:gd name="connsiteX42" fmla="*/ 4358 w 10000"/>
              <a:gd name="connsiteY42" fmla="*/ 9576 h 10000"/>
              <a:gd name="connsiteX43" fmla="*/ 3929 w 10000"/>
              <a:gd name="connsiteY43" fmla="*/ 8803 h 10000"/>
              <a:gd name="connsiteX44" fmla="*/ 2619 w 10000"/>
              <a:gd name="connsiteY44" fmla="*/ 8803 h 10000"/>
              <a:gd name="connsiteX45" fmla="*/ 1739 w 10000"/>
              <a:gd name="connsiteY45" fmla="*/ 8803 h 10000"/>
              <a:gd name="connsiteX46" fmla="*/ 429 w 10000"/>
              <a:gd name="connsiteY46" fmla="*/ 8803 h 10000"/>
              <a:gd name="connsiteX0" fmla="*/ 429 w 9571"/>
              <a:gd name="connsiteY0" fmla="*/ 8803 h 10000"/>
              <a:gd name="connsiteX1" fmla="*/ 429 w 9571"/>
              <a:gd name="connsiteY1" fmla="*/ 8803 h 10000"/>
              <a:gd name="connsiteX2" fmla="*/ 429 w 9571"/>
              <a:gd name="connsiteY2" fmla="*/ 7980 h 10000"/>
              <a:gd name="connsiteX3" fmla="*/ 1310 w 9571"/>
              <a:gd name="connsiteY3" fmla="*/ 7606 h 10000"/>
              <a:gd name="connsiteX4" fmla="*/ 882 w 9571"/>
              <a:gd name="connsiteY4" fmla="*/ 6783 h 10000"/>
              <a:gd name="connsiteX5" fmla="*/ 429 w 9571"/>
              <a:gd name="connsiteY5" fmla="*/ 6409 h 10000"/>
              <a:gd name="connsiteX6" fmla="*/ 0 w 9571"/>
              <a:gd name="connsiteY6" fmla="*/ 5586 h 10000"/>
              <a:gd name="connsiteX7" fmla="*/ 882 w 9571"/>
              <a:gd name="connsiteY7" fmla="*/ 5985 h 10000"/>
              <a:gd name="connsiteX8" fmla="*/ 3476 w 9571"/>
              <a:gd name="connsiteY8" fmla="*/ 5586 h 10000"/>
              <a:gd name="connsiteX9" fmla="*/ 3476 w 9571"/>
              <a:gd name="connsiteY9" fmla="*/ 4788 h 10000"/>
              <a:gd name="connsiteX10" fmla="*/ 3929 w 9571"/>
              <a:gd name="connsiteY10" fmla="*/ 4389 h 10000"/>
              <a:gd name="connsiteX11" fmla="*/ 5667 w 9571"/>
              <a:gd name="connsiteY11" fmla="*/ 4015 h 10000"/>
              <a:gd name="connsiteX12" fmla="*/ 5667 w 9571"/>
              <a:gd name="connsiteY12" fmla="*/ 3192 h 10000"/>
              <a:gd name="connsiteX13" fmla="*/ 6096 w 9571"/>
              <a:gd name="connsiteY13" fmla="*/ 2818 h 10000"/>
              <a:gd name="connsiteX14" fmla="*/ 6096 w 9571"/>
              <a:gd name="connsiteY14" fmla="*/ 2394 h 10000"/>
              <a:gd name="connsiteX15" fmla="*/ 6523 w 9571"/>
              <a:gd name="connsiteY15" fmla="*/ 2394 h 10000"/>
              <a:gd name="connsiteX16" fmla="*/ 6977 w 9571"/>
              <a:gd name="connsiteY16" fmla="*/ 1621 h 10000"/>
              <a:gd name="connsiteX17" fmla="*/ 6977 w 9571"/>
              <a:gd name="connsiteY17" fmla="*/ 798 h 10000"/>
              <a:gd name="connsiteX18" fmla="*/ 7835 w 9571"/>
              <a:gd name="connsiteY18" fmla="*/ 424 h 10000"/>
              <a:gd name="connsiteX19" fmla="*/ 8716 w 9571"/>
              <a:gd name="connsiteY19" fmla="*/ 0 h 10000"/>
              <a:gd name="connsiteX20" fmla="*/ 9144 w 9571"/>
              <a:gd name="connsiteY20" fmla="*/ 0 h 10000"/>
              <a:gd name="connsiteX21" fmla="*/ 9144 w 9571"/>
              <a:gd name="connsiteY21" fmla="*/ 1621 h 10000"/>
              <a:gd name="connsiteX22" fmla="*/ 8716 w 9571"/>
              <a:gd name="connsiteY22" fmla="*/ 1995 h 10000"/>
              <a:gd name="connsiteX23" fmla="*/ 9144 w 9571"/>
              <a:gd name="connsiteY23" fmla="*/ 2394 h 10000"/>
              <a:gd name="connsiteX24" fmla="*/ 8716 w 9571"/>
              <a:gd name="connsiteY24" fmla="*/ 3192 h 10000"/>
              <a:gd name="connsiteX25" fmla="*/ 9571 w 9571"/>
              <a:gd name="connsiteY25" fmla="*/ 3591 h 10000"/>
              <a:gd name="connsiteX26" fmla="*/ 9571 w 9571"/>
              <a:gd name="connsiteY26" fmla="*/ 4015 h 10000"/>
              <a:gd name="connsiteX27" fmla="*/ 9144 w 9571"/>
              <a:gd name="connsiteY27" fmla="*/ 4015 h 10000"/>
              <a:gd name="connsiteX28" fmla="*/ 9571 w 9571"/>
              <a:gd name="connsiteY28" fmla="*/ 4389 h 10000"/>
              <a:gd name="connsiteX29" fmla="*/ 7406 w 9571"/>
              <a:gd name="connsiteY29" fmla="*/ 6783 h 10000"/>
              <a:gd name="connsiteX30" fmla="*/ 6523 w 9571"/>
              <a:gd name="connsiteY30" fmla="*/ 7182 h 10000"/>
              <a:gd name="connsiteX31" fmla="*/ 6096 w 9571"/>
              <a:gd name="connsiteY31" fmla="*/ 6783 h 10000"/>
              <a:gd name="connsiteX32" fmla="*/ 5667 w 9571"/>
              <a:gd name="connsiteY32" fmla="*/ 7182 h 10000"/>
              <a:gd name="connsiteX33" fmla="*/ 5667 w 9571"/>
              <a:gd name="connsiteY33" fmla="*/ 7980 h 10000"/>
              <a:gd name="connsiteX34" fmla="*/ 6096 w 9571"/>
              <a:gd name="connsiteY34" fmla="*/ 7980 h 10000"/>
              <a:gd name="connsiteX35" fmla="*/ 6096 w 9571"/>
              <a:gd name="connsiteY35" fmla="*/ 8379 h 10000"/>
              <a:gd name="connsiteX36" fmla="*/ 6523 w 9571"/>
              <a:gd name="connsiteY36" fmla="*/ 8379 h 10000"/>
              <a:gd name="connsiteX37" fmla="*/ 6523 w 9571"/>
              <a:gd name="connsiteY37" fmla="*/ 9177 h 10000"/>
              <a:gd name="connsiteX38" fmla="*/ 6523 w 9571"/>
              <a:gd name="connsiteY38" fmla="*/ 9576 h 10000"/>
              <a:gd name="connsiteX39" fmla="*/ 5214 w 9571"/>
              <a:gd name="connsiteY39" fmla="*/ 9576 h 10000"/>
              <a:gd name="connsiteX40" fmla="*/ 4787 w 9571"/>
              <a:gd name="connsiteY40" fmla="*/ 10000 h 10000"/>
              <a:gd name="connsiteX41" fmla="*/ 4358 w 9571"/>
              <a:gd name="connsiteY41" fmla="*/ 9576 h 10000"/>
              <a:gd name="connsiteX42" fmla="*/ 3929 w 9571"/>
              <a:gd name="connsiteY42" fmla="*/ 8803 h 10000"/>
              <a:gd name="connsiteX43" fmla="*/ 2619 w 9571"/>
              <a:gd name="connsiteY43" fmla="*/ 8803 h 10000"/>
              <a:gd name="connsiteX44" fmla="*/ 1739 w 9571"/>
              <a:gd name="connsiteY44" fmla="*/ 8803 h 10000"/>
              <a:gd name="connsiteX45" fmla="*/ 429 w 9571"/>
              <a:gd name="connsiteY45" fmla="*/ 8803 h 10000"/>
              <a:gd name="connsiteX0" fmla="*/ 448 w 10000"/>
              <a:gd name="connsiteY0" fmla="*/ 8803 h 10000"/>
              <a:gd name="connsiteX1" fmla="*/ 448 w 10000"/>
              <a:gd name="connsiteY1" fmla="*/ 8803 h 10000"/>
              <a:gd name="connsiteX2" fmla="*/ 448 w 10000"/>
              <a:gd name="connsiteY2" fmla="*/ 7980 h 10000"/>
              <a:gd name="connsiteX3" fmla="*/ 1369 w 10000"/>
              <a:gd name="connsiteY3" fmla="*/ 7606 h 10000"/>
              <a:gd name="connsiteX4" fmla="*/ 922 w 10000"/>
              <a:gd name="connsiteY4" fmla="*/ 6783 h 10000"/>
              <a:gd name="connsiteX5" fmla="*/ 448 w 10000"/>
              <a:gd name="connsiteY5" fmla="*/ 6409 h 10000"/>
              <a:gd name="connsiteX6" fmla="*/ 0 w 10000"/>
              <a:gd name="connsiteY6" fmla="*/ 5586 h 10000"/>
              <a:gd name="connsiteX7" fmla="*/ 922 w 10000"/>
              <a:gd name="connsiteY7" fmla="*/ 5985 h 10000"/>
              <a:gd name="connsiteX8" fmla="*/ 3632 w 10000"/>
              <a:gd name="connsiteY8" fmla="*/ 5586 h 10000"/>
              <a:gd name="connsiteX9" fmla="*/ 3632 w 10000"/>
              <a:gd name="connsiteY9" fmla="*/ 4788 h 10000"/>
              <a:gd name="connsiteX10" fmla="*/ 4105 w 10000"/>
              <a:gd name="connsiteY10" fmla="*/ 4389 h 10000"/>
              <a:gd name="connsiteX11" fmla="*/ 5921 w 10000"/>
              <a:gd name="connsiteY11" fmla="*/ 4015 h 10000"/>
              <a:gd name="connsiteX12" fmla="*/ 5921 w 10000"/>
              <a:gd name="connsiteY12" fmla="*/ 3192 h 10000"/>
              <a:gd name="connsiteX13" fmla="*/ 6369 w 10000"/>
              <a:gd name="connsiteY13" fmla="*/ 2818 h 10000"/>
              <a:gd name="connsiteX14" fmla="*/ 6369 w 10000"/>
              <a:gd name="connsiteY14" fmla="*/ 2394 h 10000"/>
              <a:gd name="connsiteX15" fmla="*/ 6815 w 10000"/>
              <a:gd name="connsiteY15" fmla="*/ 2394 h 10000"/>
              <a:gd name="connsiteX16" fmla="*/ 7290 w 10000"/>
              <a:gd name="connsiteY16" fmla="*/ 1621 h 10000"/>
              <a:gd name="connsiteX17" fmla="*/ 7290 w 10000"/>
              <a:gd name="connsiteY17" fmla="*/ 798 h 10000"/>
              <a:gd name="connsiteX18" fmla="*/ 8186 w 10000"/>
              <a:gd name="connsiteY18" fmla="*/ 424 h 10000"/>
              <a:gd name="connsiteX19" fmla="*/ 9107 w 10000"/>
              <a:gd name="connsiteY19" fmla="*/ 0 h 10000"/>
              <a:gd name="connsiteX20" fmla="*/ 9554 w 10000"/>
              <a:gd name="connsiteY20" fmla="*/ 0 h 10000"/>
              <a:gd name="connsiteX21" fmla="*/ 8652 w 10000"/>
              <a:gd name="connsiteY21" fmla="*/ 800 h 10000"/>
              <a:gd name="connsiteX22" fmla="*/ 9554 w 10000"/>
              <a:gd name="connsiteY22" fmla="*/ 1621 h 10000"/>
              <a:gd name="connsiteX23" fmla="*/ 9107 w 10000"/>
              <a:gd name="connsiteY23" fmla="*/ 1995 h 10000"/>
              <a:gd name="connsiteX24" fmla="*/ 9554 w 10000"/>
              <a:gd name="connsiteY24" fmla="*/ 2394 h 10000"/>
              <a:gd name="connsiteX25" fmla="*/ 9107 w 10000"/>
              <a:gd name="connsiteY25" fmla="*/ 3192 h 10000"/>
              <a:gd name="connsiteX26" fmla="*/ 10000 w 10000"/>
              <a:gd name="connsiteY26" fmla="*/ 3591 h 10000"/>
              <a:gd name="connsiteX27" fmla="*/ 10000 w 10000"/>
              <a:gd name="connsiteY27" fmla="*/ 4015 h 10000"/>
              <a:gd name="connsiteX28" fmla="*/ 9554 w 10000"/>
              <a:gd name="connsiteY28" fmla="*/ 4015 h 10000"/>
              <a:gd name="connsiteX29" fmla="*/ 10000 w 10000"/>
              <a:gd name="connsiteY29" fmla="*/ 4389 h 10000"/>
              <a:gd name="connsiteX30" fmla="*/ 7738 w 10000"/>
              <a:gd name="connsiteY30" fmla="*/ 6783 h 10000"/>
              <a:gd name="connsiteX31" fmla="*/ 6815 w 10000"/>
              <a:gd name="connsiteY31" fmla="*/ 7182 h 10000"/>
              <a:gd name="connsiteX32" fmla="*/ 6369 w 10000"/>
              <a:gd name="connsiteY32" fmla="*/ 6783 h 10000"/>
              <a:gd name="connsiteX33" fmla="*/ 5921 w 10000"/>
              <a:gd name="connsiteY33" fmla="*/ 7182 h 10000"/>
              <a:gd name="connsiteX34" fmla="*/ 5921 w 10000"/>
              <a:gd name="connsiteY34" fmla="*/ 7980 h 10000"/>
              <a:gd name="connsiteX35" fmla="*/ 6369 w 10000"/>
              <a:gd name="connsiteY35" fmla="*/ 7980 h 10000"/>
              <a:gd name="connsiteX36" fmla="*/ 6369 w 10000"/>
              <a:gd name="connsiteY36" fmla="*/ 8379 h 10000"/>
              <a:gd name="connsiteX37" fmla="*/ 6815 w 10000"/>
              <a:gd name="connsiteY37" fmla="*/ 8379 h 10000"/>
              <a:gd name="connsiteX38" fmla="*/ 6815 w 10000"/>
              <a:gd name="connsiteY38" fmla="*/ 9177 h 10000"/>
              <a:gd name="connsiteX39" fmla="*/ 6815 w 10000"/>
              <a:gd name="connsiteY39" fmla="*/ 9576 h 10000"/>
              <a:gd name="connsiteX40" fmla="*/ 5448 w 10000"/>
              <a:gd name="connsiteY40" fmla="*/ 9576 h 10000"/>
              <a:gd name="connsiteX41" fmla="*/ 5002 w 10000"/>
              <a:gd name="connsiteY41" fmla="*/ 10000 h 10000"/>
              <a:gd name="connsiteX42" fmla="*/ 4553 w 10000"/>
              <a:gd name="connsiteY42" fmla="*/ 9576 h 10000"/>
              <a:gd name="connsiteX43" fmla="*/ 4105 w 10000"/>
              <a:gd name="connsiteY43" fmla="*/ 8803 h 10000"/>
              <a:gd name="connsiteX44" fmla="*/ 2736 w 10000"/>
              <a:gd name="connsiteY44" fmla="*/ 8803 h 10000"/>
              <a:gd name="connsiteX45" fmla="*/ 1817 w 10000"/>
              <a:gd name="connsiteY45" fmla="*/ 8803 h 10000"/>
              <a:gd name="connsiteX46" fmla="*/ 448 w 10000"/>
              <a:gd name="connsiteY46" fmla="*/ 8803 h 10000"/>
              <a:gd name="connsiteX0" fmla="*/ 448 w 10023"/>
              <a:gd name="connsiteY0" fmla="*/ 8803 h 10000"/>
              <a:gd name="connsiteX1" fmla="*/ 448 w 10023"/>
              <a:gd name="connsiteY1" fmla="*/ 8803 h 10000"/>
              <a:gd name="connsiteX2" fmla="*/ 448 w 10023"/>
              <a:gd name="connsiteY2" fmla="*/ 7980 h 10000"/>
              <a:gd name="connsiteX3" fmla="*/ 1369 w 10023"/>
              <a:gd name="connsiteY3" fmla="*/ 7606 h 10000"/>
              <a:gd name="connsiteX4" fmla="*/ 922 w 10023"/>
              <a:gd name="connsiteY4" fmla="*/ 6783 h 10000"/>
              <a:gd name="connsiteX5" fmla="*/ 448 w 10023"/>
              <a:gd name="connsiteY5" fmla="*/ 6409 h 10000"/>
              <a:gd name="connsiteX6" fmla="*/ 0 w 10023"/>
              <a:gd name="connsiteY6" fmla="*/ 5586 h 10000"/>
              <a:gd name="connsiteX7" fmla="*/ 922 w 10023"/>
              <a:gd name="connsiteY7" fmla="*/ 5985 h 10000"/>
              <a:gd name="connsiteX8" fmla="*/ 3632 w 10023"/>
              <a:gd name="connsiteY8" fmla="*/ 5586 h 10000"/>
              <a:gd name="connsiteX9" fmla="*/ 3632 w 10023"/>
              <a:gd name="connsiteY9" fmla="*/ 4788 h 10000"/>
              <a:gd name="connsiteX10" fmla="*/ 4105 w 10023"/>
              <a:gd name="connsiteY10" fmla="*/ 4389 h 10000"/>
              <a:gd name="connsiteX11" fmla="*/ 5921 w 10023"/>
              <a:gd name="connsiteY11" fmla="*/ 4015 h 10000"/>
              <a:gd name="connsiteX12" fmla="*/ 5921 w 10023"/>
              <a:gd name="connsiteY12" fmla="*/ 3192 h 10000"/>
              <a:gd name="connsiteX13" fmla="*/ 6369 w 10023"/>
              <a:gd name="connsiteY13" fmla="*/ 2818 h 10000"/>
              <a:gd name="connsiteX14" fmla="*/ 6369 w 10023"/>
              <a:gd name="connsiteY14" fmla="*/ 2394 h 10000"/>
              <a:gd name="connsiteX15" fmla="*/ 6815 w 10023"/>
              <a:gd name="connsiteY15" fmla="*/ 2394 h 10000"/>
              <a:gd name="connsiteX16" fmla="*/ 7290 w 10023"/>
              <a:gd name="connsiteY16" fmla="*/ 1621 h 10000"/>
              <a:gd name="connsiteX17" fmla="*/ 7290 w 10023"/>
              <a:gd name="connsiteY17" fmla="*/ 798 h 10000"/>
              <a:gd name="connsiteX18" fmla="*/ 8186 w 10023"/>
              <a:gd name="connsiteY18" fmla="*/ 424 h 10000"/>
              <a:gd name="connsiteX19" fmla="*/ 9107 w 10023"/>
              <a:gd name="connsiteY19" fmla="*/ 0 h 10000"/>
              <a:gd name="connsiteX20" fmla="*/ 9554 w 10023"/>
              <a:gd name="connsiteY20" fmla="*/ 0 h 10000"/>
              <a:gd name="connsiteX21" fmla="*/ 8652 w 10023"/>
              <a:gd name="connsiteY21" fmla="*/ 800 h 10000"/>
              <a:gd name="connsiteX22" fmla="*/ 9554 w 10023"/>
              <a:gd name="connsiteY22" fmla="*/ 1621 h 10000"/>
              <a:gd name="connsiteX23" fmla="*/ 9107 w 10023"/>
              <a:gd name="connsiteY23" fmla="*/ 1995 h 10000"/>
              <a:gd name="connsiteX24" fmla="*/ 9554 w 10023"/>
              <a:gd name="connsiteY24" fmla="*/ 2394 h 10000"/>
              <a:gd name="connsiteX25" fmla="*/ 10023 w 10023"/>
              <a:gd name="connsiteY25" fmla="*/ 2850 h 10000"/>
              <a:gd name="connsiteX26" fmla="*/ 10000 w 10023"/>
              <a:gd name="connsiteY26" fmla="*/ 3591 h 10000"/>
              <a:gd name="connsiteX27" fmla="*/ 10000 w 10023"/>
              <a:gd name="connsiteY27" fmla="*/ 4015 h 10000"/>
              <a:gd name="connsiteX28" fmla="*/ 9554 w 10023"/>
              <a:gd name="connsiteY28" fmla="*/ 4015 h 10000"/>
              <a:gd name="connsiteX29" fmla="*/ 10000 w 10023"/>
              <a:gd name="connsiteY29" fmla="*/ 4389 h 10000"/>
              <a:gd name="connsiteX30" fmla="*/ 7738 w 10023"/>
              <a:gd name="connsiteY30" fmla="*/ 6783 h 10000"/>
              <a:gd name="connsiteX31" fmla="*/ 6815 w 10023"/>
              <a:gd name="connsiteY31" fmla="*/ 7182 h 10000"/>
              <a:gd name="connsiteX32" fmla="*/ 6369 w 10023"/>
              <a:gd name="connsiteY32" fmla="*/ 6783 h 10000"/>
              <a:gd name="connsiteX33" fmla="*/ 5921 w 10023"/>
              <a:gd name="connsiteY33" fmla="*/ 7182 h 10000"/>
              <a:gd name="connsiteX34" fmla="*/ 5921 w 10023"/>
              <a:gd name="connsiteY34" fmla="*/ 7980 h 10000"/>
              <a:gd name="connsiteX35" fmla="*/ 6369 w 10023"/>
              <a:gd name="connsiteY35" fmla="*/ 7980 h 10000"/>
              <a:gd name="connsiteX36" fmla="*/ 6369 w 10023"/>
              <a:gd name="connsiteY36" fmla="*/ 8379 h 10000"/>
              <a:gd name="connsiteX37" fmla="*/ 6815 w 10023"/>
              <a:gd name="connsiteY37" fmla="*/ 8379 h 10000"/>
              <a:gd name="connsiteX38" fmla="*/ 6815 w 10023"/>
              <a:gd name="connsiteY38" fmla="*/ 9177 h 10000"/>
              <a:gd name="connsiteX39" fmla="*/ 6815 w 10023"/>
              <a:gd name="connsiteY39" fmla="*/ 9576 h 10000"/>
              <a:gd name="connsiteX40" fmla="*/ 5448 w 10023"/>
              <a:gd name="connsiteY40" fmla="*/ 9576 h 10000"/>
              <a:gd name="connsiteX41" fmla="*/ 5002 w 10023"/>
              <a:gd name="connsiteY41" fmla="*/ 10000 h 10000"/>
              <a:gd name="connsiteX42" fmla="*/ 4553 w 10023"/>
              <a:gd name="connsiteY42" fmla="*/ 9576 h 10000"/>
              <a:gd name="connsiteX43" fmla="*/ 4105 w 10023"/>
              <a:gd name="connsiteY43" fmla="*/ 8803 h 10000"/>
              <a:gd name="connsiteX44" fmla="*/ 2736 w 10023"/>
              <a:gd name="connsiteY44" fmla="*/ 8803 h 10000"/>
              <a:gd name="connsiteX45" fmla="*/ 1817 w 10023"/>
              <a:gd name="connsiteY45" fmla="*/ 8803 h 10000"/>
              <a:gd name="connsiteX46" fmla="*/ 448 w 10023"/>
              <a:gd name="connsiteY46" fmla="*/ 8803 h 10000"/>
              <a:gd name="connsiteX0" fmla="*/ 448 w 10023"/>
              <a:gd name="connsiteY0" fmla="*/ 8803 h 10000"/>
              <a:gd name="connsiteX1" fmla="*/ 448 w 10023"/>
              <a:gd name="connsiteY1" fmla="*/ 8803 h 10000"/>
              <a:gd name="connsiteX2" fmla="*/ 448 w 10023"/>
              <a:gd name="connsiteY2" fmla="*/ 7980 h 10000"/>
              <a:gd name="connsiteX3" fmla="*/ 1369 w 10023"/>
              <a:gd name="connsiteY3" fmla="*/ 7606 h 10000"/>
              <a:gd name="connsiteX4" fmla="*/ 922 w 10023"/>
              <a:gd name="connsiteY4" fmla="*/ 6783 h 10000"/>
              <a:gd name="connsiteX5" fmla="*/ 448 w 10023"/>
              <a:gd name="connsiteY5" fmla="*/ 6409 h 10000"/>
              <a:gd name="connsiteX6" fmla="*/ 0 w 10023"/>
              <a:gd name="connsiteY6" fmla="*/ 5586 h 10000"/>
              <a:gd name="connsiteX7" fmla="*/ 922 w 10023"/>
              <a:gd name="connsiteY7" fmla="*/ 5985 h 10000"/>
              <a:gd name="connsiteX8" fmla="*/ 3632 w 10023"/>
              <a:gd name="connsiteY8" fmla="*/ 5586 h 10000"/>
              <a:gd name="connsiteX9" fmla="*/ 3632 w 10023"/>
              <a:gd name="connsiteY9" fmla="*/ 4788 h 10000"/>
              <a:gd name="connsiteX10" fmla="*/ 4105 w 10023"/>
              <a:gd name="connsiteY10" fmla="*/ 4389 h 10000"/>
              <a:gd name="connsiteX11" fmla="*/ 5921 w 10023"/>
              <a:gd name="connsiteY11" fmla="*/ 4015 h 10000"/>
              <a:gd name="connsiteX12" fmla="*/ 5921 w 10023"/>
              <a:gd name="connsiteY12" fmla="*/ 3192 h 10000"/>
              <a:gd name="connsiteX13" fmla="*/ 6369 w 10023"/>
              <a:gd name="connsiteY13" fmla="*/ 2818 h 10000"/>
              <a:gd name="connsiteX14" fmla="*/ 6369 w 10023"/>
              <a:gd name="connsiteY14" fmla="*/ 2394 h 10000"/>
              <a:gd name="connsiteX15" fmla="*/ 6815 w 10023"/>
              <a:gd name="connsiteY15" fmla="*/ 2394 h 10000"/>
              <a:gd name="connsiteX16" fmla="*/ 7290 w 10023"/>
              <a:gd name="connsiteY16" fmla="*/ 1621 h 10000"/>
              <a:gd name="connsiteX17" fmla="*/ 7290 w 10023"/>
              <a:gd name="connsiteY17" fmla="*/ 798 h 10000"/>
              <a:gd name="connsiteX18" fmla="*/ 8186 w 10023"/>
              <a:gd name="connsiteY18" fmla="*/ 424 h 10000"/>
              <a:gd name="connsiteX19" fmla="*/ 9107 w 10023"/>
              <a:gd name="connsiteY19" fmla="*/ 0 h 10000"/>
              <a:gd name="connsiteX20" fmla="*/ 9554 w 10023"/>
              <a:gd name="connsiteY20" fmla="*/ 0 h 10000"/>
              <a:gd name="connsiteX21" fmla="*/ 8652 w 10023"/>
              <a:gd name="connsiteY21" fmla="*/ 800 h 10000"/>
              <a:gd name="connsiteX22" fmla="*/ 9554 w 10023"/>
              <a:gd name="connsiteY22" fmla="*/ 1621 h 10000"/>
              <a:gd name="connsiteX23" fmla="*/ 9107 w 10023"/>
              <a:gd name="connsiteY23" fmla="*/ 1995 h 10000"/>
              <a:gd name="connsiteX24" fmla="*/ 9554 w 10023"/>
              <a:gd name="connsiteY24" fmla="*/ 2394 h 10000"/>
              <a:gd name="connsiteX25" fmla="*/ 10023 w 10023"/>
              <a:gd name="connsiteY25" fmla="*/ 2850 h 10000"/>
              <a:gd name="connsiteX26" fmla="*/ 10000 w 10023"/>
              <a:gd name="connsiteY26" fmla="*/ 3591 h 10000"/>
              <a:gd name="connsiteX27" fmla="*/ 10000 w 10023"/>
              <a:gd name="connsiteY27" fmla="*/ 4015 h 10000"/>
              <a:gd name="connsiteX28" fmla="*/ 10000 w 10023"/>
              <a:gd name="connsiteY28" fmla="*/ 4389 h 10000"/>
              <a:gd name="connsiteX29" fmla="*/ 7738 w 10023"/>
              <a:gd name="connsiteY29" fmla="*/ 6783 h 10000"/>
              <a:gd name="connsiteX30" fmla="*/ 6815 w 10023"/>
              <a:gd name="connsiteY30" fmla="*/ 7182 h 10000"/>
              <a:gd name="connsiteX31" fmla="*/ 6369 w 10023"/>
              <a:gd name="connsiteY31" fmla="*/ 6783 h 10000"/>
              <a:gd name="connsiteX32" fmla="*/ 5921 w 10023"/>
              <a:gd name="connsiteY32" fmla="*/ 7182 h 10000"/>
              <a:gd name="connsiteX33" fmla="*/ 5921 w 10023"/>
              <a:gd name="connsiteY33" fmla="*/ 7980 h 10000"/>
              <a:gd name="connsiteX34" fmla="*/ 6369 w 10023"/>
              <a:gd name="connsiteY34" fmla="*/ 7980 h 10000"/>
              <a:gd name="connsiteX35" fmla="*/ 6369 w 10023"/>
              <a:gd name="connsiteY35" fmla="*/ 8379 h 10000"/>
              <a:gd name="connsiteX36" fmla="*/ 6815 w 10023"/>
              <a:gd name="connsiteY36" fmla="*/ 8379 h 10000"/>
              <a:gd name="connsiteX37" fmla="*/ 6815 w 10023"/>
              <a:gd name="connsiteY37" fmla="*/ 9177 h 10000"/>
              <a:gd name="connsiteX38" fmla="*/ 6815 w 10023"/>
              <a:gd name="connsiteY38" fmla="*/ 9576 h 10000"/>
              <a:gd name="connsiteX39" fmla="*/ 5448 w 10023"/>
              <a:gd name="connsiteY39" fmla="*/ 9576 h 10000"/>
              <a:gd name="connsiteX40" fmla="*/ 5002 w 10023"/>
              <a:gd name="connsiteY40" fmla="*/ 10000 h 10000"/>
              <a:gd name="connsiteX41" fmla="*/ 4553 w 10023"/>
              <a:gd name="connsiteY41" fmla="*/ 9576 h 10000"/>
              <a:gd name="connsiteX42" fmla="*/ 4105 w 10023"/>
              <a:gd name="connsiteY42" fmla="*/ 8803 h 10000"/>
              <a:gd name="connsiteX43" fmla="*/ 2736 w 10023"/>
              <a:gd name="connsiteY43" fmla="*/ 8803 h 10000"/>
              <a:gd name="connsiteX44" fmla="*/ 1817 w 10023"/>
              <a:gd name="connsiteY44" fmla="*/ 8803 h 10000"/>
              <a:gd name="connsiteX45" fmla="*/ 448 w 10023"/>
              <a:gd name="connsiteY45" fmla="*/ 8803 h 10000"/>
              <a:gd name="connsiteX0" fmla="*/ 448 w 10023"/>
              <a:gd name="connsiteY0" fmla="*/ 8803 h 10000"/>
              <a:gd name="connsiteX1" fmla="*/ 448 w 10023"/>
              <a:gd name="connsiteY1" fmla="*/ 8803 h 10000"/>
              <a:gd name="connsiteX2" fmla="*/ 448 w 10023"/>
              <a:gd name="connsiteY2" fmla="*/ 7980 h 10000"/>
              <a:gd name="connsiteX3" fmla="*/ 1369 w 10023"/>
              <a:gd name="connsiteY3" fmla="*/ 7606 h 10000"/>
              <a:gd name="connsiteX4" fmla="*/ 922 w 10023"/>
              <a:gd name="connsiteY4" fmla="*/ 6783 h 10000"/>
              <a:gd name="connsiteX5" fmla="*/ 448 w 10023"/>
              <a:gd name="connsiteY5" fmla="*/ 6409 h 10000"/>
              <a:gd name="connsiteX6" fmla="*/ 0 w 10023"/>
              <a:gd name="connsiteY6" fmla="*/ 5586 h 10000"/>
              <a:gd name="connsiteX7" fmla="*/ 922 w 10023"/>
              <a:gd name="connsiteY7" fmla="*/ 5985 h 10000"/>
              <a:gd name="connsiteX8" fmla="*/ 3632 w 10023"/>
              <a:gd name="connsiteY8" fmla="*/ 5586 h 10000"/>
              <a:gd name="connsiteX9" fmla="*/ 3632 w 10023"/>
              <a:gd name="connsiteY9" fmla="*/ 4788 h 10000"/>
              <a:gd name="connsiteX10" fmla="*/ 4105 w 10023"/>
              <a:gd name="connsiteY10" fmla="*/ 4389 h 10000"/>
              <a:gd name="connsiteX11" fmla="*/ 5921 w 10023"/>
              <a:gd name="connsiteY11" fmla="*/ 4015 h 10000"/>
              <a:gd name="connsiteX12" fmla="*/ 5921 w 10023"/>
              <a:gd name="connsiteY12" fmla="*/ 3192 h 10000"/>
              <a:gd name="connsiteX13" fmla="*/ 6369 w 10023"/>
              <a:gd name="connsiteY13" fmla="*/ 2818 h 10000"/>
              <a:gd name="connsiteX14" fmla="*/ 6369 w 10023"/>
              <a:gd name="connsiteY14" fmla="*/ 2394 h 10000"/>
              <a:gd name="connsiteX15" fmla="*/ 6815 w 10023"/>
              <a:gd name="connsiteY15" fmla="*/ 2394 h 10000"/>
              <a:gd name="connsiteX16" fmla="*/ 7290 w 10023"/>
              <a:gd name="connsiteY16" fmla="*/ 1621 h 10000"/>
              <a:gd name="connsiteX17" fmla="*/ 7290 w 10023"/>
              <a:gd name="connsiteY17" fmla="*/ 798 h 10000"/>
              <a:gd name="connsiteX18" fmla="*/ 8186 w 10023"/>
              <a:gd name="connsiteY18" fmla="*/ 424 h 10000"/>
              <a:gd name="connsiteX19" fmla="*/ 9107 w 10023"/>
              <a:gd name="connsiteY19" fmla="*/ 0 h 10000"/>
              <a:gd name="connsiteX20" fmla="*/ 9554 w 10023"/>
              <a:gd name="connsiteY20" fmla="*/ 0 h 10000"/>
              <a:gd name="connsiteX21" fmla="*/ 8652 w 10023"/>
              <a:gd name="connsiteY21" fmla="*/ 800 h 10000"/>
              <a:gd name="connsiteX22" fmla="*/ 9554 w 10023"/>
              <a:gd name="connsiteY22" fmla="*/ 1621 h 10000"/>
              <a:gd name="connsiteX23" fmla="*/ 9107 w 10023"/>
              <a:gd name="connsiteY23" fmla="*/ 1995 h 10000"/>
              <a:gd name="connsiteX24" fmla="*/ 9554 w 10023"/>
              <a:gd name="connsiteY24" fmla="*/ 2394 h 10000"/>
              <a:gd name="connsiteX25" fmla="*/ 10023 w 10023"/>
              <a:gd name="connsiteY25" fmla="*/ 2850 h 10000"/>
              <a:gd name="connsiteX26" fmla="*/ 10000 w 10023"/>
              <a:gd name="connsiteY26" fmla="*/ 3591 h 10000"/>
              <a:gd name="connsiteX27" fmla="*/ 10000 w 10023"/>
              <a:gd name="connsiteY27" fmla="*/ 4389 h 10000"/>
              <a:gd name="connsiteX28" fmla="*/ 7738 w 10023"/>
              <a:gd name="connsiteY28" fmla="*/ 6783 h 10000"/>
              <a:gd name="connsiteX29" fmla="*/ 6815 w 10023"/>
              <a:gd name="connsiteY29" fmla="*/ 7182 h 10000"/>
              <a:gd name="connsiteX30" fmla="*/ 6369 w 10023"/>
              <a:gd name="connsiteY30" fmla="*/ 6783 h 10000"/>
              <a:gd name="connsiteX31" fmla="*/ 5921 w 10023"/>
              <a:gd name="connsiteY31" fmla="*/ 7182 h 10000"/>
              <a:gd name="connsiteX32" fmla="*/ 5921 w 10023"/>
              <a:gd name="connsiteY32" fmla="*/ 7980 h 10000"/>
              <a:gd name="connsiteX33" fmla="*/ 6369 w 10023"/>
              <a:gd name="connsiteY33" fmla="*/ 7980 h 10000"/>
              <a:gd name="connsiteX34" fmla="*/ 6369 w 10023"/>
              <a:gd name="connsiteY34" fmla="*/ 8379 h 10000"/>
              <a:gd name="connsiteX35" fmla="*/ 6815 w 10023"/>
              <a:gd name="connsiteY35" fmla="*/ 8379 h 10000"/>
              <a:gd name="connsiteX36" fmla="*/ 6815 w 10023"/>
              <a:gd name="connsiteY36" fmla="*/ 9177 h 10000"/>
              <a:gd name="connsiteX37" fmla="*/ 6815 w 10023"/>
              <a:gd name="connsiteY37" fmla="*/ 9576 h 10000"/>
              <a:gd name="connsiteX38" fmla="*/ 5448 w 10023"/>
              <a:gd name="connsiteY38" fmla="*/ 9576 h 10000"/>
              <a:gd name="connsiteX39" fmla="*/ 5002 w 10023"/>
              <a:gd name="connsiteY39" fmla="*/ 10000 h 10000"/>
              <a:gd name="connsiteX40" fmla="*/ 4553 w 10023"/>
              <a:gd name="connsiteY40" fmla="*/ 9576 h 10000"/>
              <a:gd name="connsiteX41" fmla="*/ 4105 w 10023"/>
              <a:gd name="connsiteY41" fmla="*/ 8803 h 10000"/>
              <a:gd name="connsiteX42" fmla="*/ 2736 w 10023"/>
              <a:gd name="connsiteY42" fmla="*/ 8803 h 10000"/>
              <a:gd name="connsiteX43" fmla="*/ 1817 w 10023"/>
              <a:gd name="connsiteY43" fmla="*/ 8803 h 10000"/>
              <a:gd name="connsiteX44" fmla="*/ 448 w 10023"/>
              <a:gd name="connsiteY44" fmla="*/ 8803 h 10000"/>
              <a:gd name="connsiteX0" fmla="*/ 448 w 10381"/>
              <a:gd name="connsiteY0" fmla="*/ 8803 h 10000"/>
              <a:gd name="connsiteX1" fmla="*/ 448 w 10381"/>
              <a:gd name="connsiteY1" fmla="*/ 8803 h 10000"/>
              <a:gd name="connsiteX2" fmla="*/ 448 w 10381"/>
              <a:gd name="connsiteY2" fmla="*/ 7980 h 10000"/>
              <a:gd name="connsiteX3" fmla="*/ 1369 w 10381"/>
              <a:gd name="connsiteY3" fmla="*/ 7606 h 10000"/>
              <a:gd name="connsiteX4" fmla="*/ 922 w 10381"/>
              <a:gd name="connsiteY4" fmla="*/ 6783 h 10000"/>
              <a:gd name="connsiteX5" fmla="*/ 448 w 10381"/>
              <a:gd name="connsiteY5" fmla="*/ 6409 h 10000"/>
              <a:gd name="connsiteX6" fmla="*/ 0 w 10381"/>
              <a:gd name="connsiteY6" fmla="*/ 5586 h 10000"/>
              <a:gd name="connsiteX7" fmla="*/ 922 w 10381"/>
              <a:gd name="connsiteY7" fmla="*/ 5985 h 10000"/>
              <a:gd name="connsiteX8" fmla="*/ 3632 w 10381"/>
              <a:gd name="connsiteY8" fmla="*/ 5586 h 10000"/>
              <a:gd name="connsiteX9" fmla="*/ 3632 w 10381"/>
              <a:gd name="connsiteY9" fmla="*/ 4788 h 10000"/>
              <a:gd name="connsiteX10" fmla="*/ 4105 w 10381"/>
              <a:gd name="connsiteY10" fmla="*/ 4389 h 10000"/>
              <a:gd name="connsiteX11" fmla="*/ 5921 w 10381"/>
              <a:gd name="connsiteY11" fmla="*/ 4015 h 10000"/>
              <a:gd name="connsiteX12" fmla="*/ 5921 w 10381"/>
              <a:gd name="connsiteY12" fmla="*/ 3192 h 10000"/>
              <a:gd name="connsiteX13" fmla="*/ 6369 w 10381"/>
              <a:gd name="connsiteY13" fmla="*/ 2818 h 10000"/>
              <a:gd name="connsiteX14" fmla="*/ 6369 w 10381"/>
              <a:gd name="connsiteY14" fmla="*/ 2394 h 10000"/>
              <a:gd name="connsiteX15" fmla="*/ 6815 w 10381"/>
              <a:gd name="connsiteY15" fmla="*/ 2394 h 10000"/>
              <a:gd name="connsiteX16" fmla="*/ 7290 w 10381"/>
              <a:gd name="connsiteY16" fmla="*/ 1621 h 10000"/>
              <a:gd name="connsiteX17" fmla="*/ 7290 w 10381"/>
              <a:gd name="connsiteY17" fmla="*/ 798 h 10000"/>
              <a:gd name="connsiteX18" fmla="*/ 8186 w 10381"/>
              <a:gd name="connsiteY18" fmla="*/ 424 h 10000"/>
              <a:gd name="connsiteX19" fmla="*/ 9107 w 10381"/>
              <a:gd name="connsiteY19" fmla="*/ 0 h 10000"/>
              <a:gd name="connsiteX20" fmla="*/ 9554 w 10381"/>
              <a:gd name="connsiteY20" fmla="*/ 0 h 10000"/>
              <a:gd name="connsiteX21" fmla="*/ 8652 w 10381"/>
              <a:gd name="connsiteY21" fmla="*/ 800 h 10000"/>
              <a:gd name="connsiteX22" fmla="*/ 9554 w 10381"/>
              <a:gd name="connsiteY22" fmla="*/ 1621 h 10000"/>
              <a:gd name="connsiteX23" fmla="*/ 9107 w 10381"/>
              <a:gd name="connsiteY23" fmla="*/ 1995 h 10000"/>
              <a:gd name="connsiteX24" fmla="*/ 9554 w 10381"/>
              <a:gd name="connsiteY24" fmla="*/ 2394 h 10000"/>
              <a:gd name="connsiteX25" fmla="*/ 10023 w 10381"/>
              <a:gd name="connsiteY25" fmla="*/ 2850 h 10000"/>
              <a:gd name="connsiteX26" fmla="*/ 10000 w 10381"/>
              <a:gd name="connsiteY26" fmla="*/ 4389 h 10000"/>
              <a:gd name="connsiteX27" fmla="*/ 7738 w 10381"/>
              <a:gd name="connsiteY27" fmla="*/ 6783 h 10000"/>
              <a:gd name="connsiteX28" fmla="*/ 6815 w 10381"/>
              <a:gd name="connsiteY28" fmla="*/ 7182 h 10000"/>
              <a:gd name="connsiteX29" fmla="*/ 6369 w 10381"/>
              <a:gd name="connsiteY29" fmla="*/ 6783 h 10000"/>
              <a:gd name="connsiteX30" fmla="*/ 5921 w 10381"/>
              <a:gd name="connsiteY30" fmla="*/ 7182 h 10000"/>
              <a:gd name="connsiteX31" fmla="*/ 5921 w 10381"/>
              <a:gd name="connsiteY31" fmla="*/ 7980 h 10000"/>
              <a:gd name="connsiteX32" fmla="*/ 6369 w 10381"/>
              <a:gd name="connsiteY32" fmla="*/ 7980 h 10000"/>
              <a:gd name="connsiteX33" fmla="*/ 6369 w 10381"/>
              <a:gd name="connsiteY33" fmla="*/ 8379 h 10000"/>
              <a:gd name="connsiteX34" fmla="*/ 6815 w 10381"/>
              <a:gd name="connsiteY34" fmla="*/ 8379 h 10000"/>
              <a:gd name="connsiteX35" fmla="*/ 6815 w 10381"/>
              <a:gd name="connsiteY35" fmla="*/ 9177 h 10000"/>
              <a:gd name="connsiteX36" fmla="*/ 6815 w 10381"/>
              <a:gd name="connsiteY36" fmla="*/ 9576 h 10000"/>
              <a:gd name="connsiteX37" fmla="*/ 5448 w 10381"/>
              <a:gd name="connsiteY37" fmla="*/ 9576 h 10000"/>
              <a:gd name="connsiteX38" fmla="*/ 5002 w 10381"/>
              <a:gd name="connsiteY38" fmla="*/ 10000 h 10000"/>
              <a:gd name="connsiteX39" fmla="*/ 4553 w 10381"/>
              <a:gd name="connsiteY39" fmla="*/ 9576 h 10000"/>
              <a:gd name="connsiteX40" fmla="*/ 4105 w 10381"/>
              <a:gd name="connsiteY40" fmla="*/ 8803 h 10000"/>
              <a:gd name="connsiteX41" fmla="*/ 2736 w 10381"/>
              <a:gd name="connsiteY41" fmla="*/ 8803 h 10000"/>
              <a:gd name="connsiteX42" fmla="*/ 1817 w 10381"/>
              <a:gd name="connsiteY42" fmla="*/ 8803 h 10000"/>
              <a:gd name="connsiteX43" fmla="*/ 448 w 10381"/>
              <a:gd name="connsiteY43" fmla="*/ 8803 h 10000"/>
              <a:gd name="connsiteX0" fmla="*/ 448 w 10403"/>
              <a:gd name="connsiteY0" fmla="*/ 8803 h 10000"/>
              <a:gd name="connsiteX1" fmla="*/ 448 w 10403"/>
              <a:gd name="connsiteY1" fmla="*/ 8803 h 10000"/>
              <a:gd name="connsiteX2" fmla="*/ 448 w 10403"/>
              <a:gd name="connsiteY2" fmla="*/ 7980 h 10000"/>
              <a:gd name="connsiteX3" fmla="*/ 1369 w 10403"/>
              <a:gd name="connsiteY3" fmla="*/ 7606 h 10000"/>
              <a:gd name="connsiteX4" fmla="*/ 922 w 10403"/>
              <a:gd name="connsiteY4" fmla="*/ 6783 h 10000"/>
              <a:gd name="connsiteX5" fmla="*/ 448 w 10403"/>
              <a:gd name="connsiteY5" fmla="*/ 6409 h 10000"/>
              <a:gd name="connsiteX6" fmla="*/ 0 w 10403"/>
              <a:gd name="connsiteY6" fmla="*/ 5586 h 10000"/>
              <a:gd name="connsiteX7" fmla="*/ 922 w 10403"/>
              <a:gd name="connsiteY7" fmla="*/ 5985 h 10000"/>
              <a:gd name="connsiteX8" fmla="*/ 3632 w 10403"/>
              <a:gd name="connsiteY8" fmla="*/ 5586 h 10000"/>
              <a:gd name="connsiteX9" fmla="*/ 3632 w 10403"/>
              <a:gd name="connsiteY9" fmla="*/ 4788 h 10000"/>
              <a:gd name="connsiteX10" fmla="*/ 4105 w 10403"/>
              <a:gd name="connsiteY10" fmla="*/ 4389 h 10000"/>
              <a:gd name="connsiteX11" fmla="*/ 5921 w 10403"/>
              <a:gd name="connsiteY11" fmla="*/ 4015 h 10000"/>
              <a:gd name="connsiteX12" fmla="*/ 5921 w 10403"/>
              <a:gd name="connsiteY12" fmla="*/ 3192 h 10000"/>
              <a:gd name="connsiteX13" fmla="*/ 6369 w 10403"/>
              <a:gd name="connsiteY13" fmla="*/ 2818 h 10000"/>
              <a:gd name="connsiteX14" fmla="*/ 6369 w 10403"/>
              <a:gd name="connsiteY14" fmla="*/ 2394 h 10000"/>
              <a:gd name="connsiteX15" fmla="*/ 6815 w 10403"/>
              <a:gd name="connsiteY15" fmla="*/ 2394 h 10000"/>
              <a:gd name="connsiteX16" fmla="*/ 7290 w 10403"/>
              <a:gd name="connsiteY16" fmla="*/ 1621 h 10000"/>
              <a:gd name="connsiteX17" fmla="*/ 7290 w 10403"/>
              <a:gd name="connsiteY17" fmla="*/ 798 h 10000"/>
              <a:gd name="connsiteX18" fmla="*/ 8186 w 10403"/>
              <a:gd name="connsiteY18" fmla="*/ 424 h 10000"/>
              <a:gd name="connsiteX19" fmla="*/ 9107 w 10403"/>
              <a:gd name="connsiteY19" fmla="*/ 0 h 10000"/>
              <a:gd name="connsiteX20" fmla="*/ 9554 w 10403"/>
              <a:gd name="connsiteY20" fmla="*/ 0 h 10000"/>
              <a:gd name="connsiteX21" fmla="*/ 8652 w 10403"/>
              <a:gd name="connsiteY21" fmla="*/ 800 h 10000"/>
              <a:gd name="connsiteX22" fmla="*/ 9554 w 10403"/>
              <a:gd name="connsiteY22" fmla="*/ 1621 h 10000"/>
              <a:gd name="connsiteX23" fmla="*/ 9107 w 10403"/>
              <a:gd name="connsiteY23" fmla="*/ 1995 h 10000"/>
              <a:gd name="connsiteX24" fmla="*/ 9554 w 10403"/>
              <a:gd name="connsiteY24" fmla="*/ 2394 h 10000"/>
              <a:gd name="connsiteX25" fmla="*/ 10023 w 10403"/>
              <a:gd name="connsiteY25" fmla="*/ 2850 h 10000"/>
              <a:gd name="connsiteX26" fmla="*/ 10381 w 10403"/>
              <a:gd name="connsiteY26" fmla="*/ 3200 h 10000"/>
              <a:gd name="connsiteX27" fmla="*/ 10000 w 10403"/>
              <a:gd name="connsiteY27" fmla="*/ 4389 h 10000"/>
              <a:gd name="connsiteX28" fmla="*/ 7738 w 10403"/>
              <a:gd name="connsiteY28" fmla="*/ 6783 h 10000"/>
              <a:gd name="connsiteX29" fmla="*/ 6815 w 10403"/>
              <a:gd name="connsiteY29" fmla="*/ 7182 h 10000"/>
              <a:gd name="connsiteX30" fmla="*/ 6369 w 10403"/>
              <a:gd name="connsiteY30" fmla="*/ 6783 h 10000"/>
              <a:gd name="connsiteX31" fmla="*/ 5921 w 10403"/>
              <a:gd name="connsiteY31" fmla="*/ 7182 h 10000"/>
              <a:gd name="connsiteX32" fmla="*/ 5921 w 10403"/>
              <a:gd name="connsiteY32" fmla="*/ 7980 h 10000"/>
              <a:gd name="connsiteX33" fmla="*/ 6369 w 10403"/>
              <a:gd name="connsiteY33" fmla="*/ 7980 h 10000"/>
              <a:gd name="connsiteX34" fmla="*/ 6369 w 10403"/>
              <a:gd name="connsiteY34" fmla="*/ 8379 h 10000"/>
              <a:gd name="connsiteX35" fmla="*/ 6815 w 10403"/>
              <a:gd name="connsiteY35" fmla="*/ 8379 h 10000"/>
              <a:gd name="connsiteX36" fmla="*/ 6815 w 10403"/>
              <a:gd name="connsiteY36" fmla="*/ 9177 h 10000"/>
              <a:gd name="connsiteX37" fmla="*/ 6815 w 10403"/>
              <a:gd name="connsiteY37" fmla="*/ 9576 h 10000"/>
              <a:gd name="connsiteX38" fmla="*/ 5448 w 10403"/>
              <a:gd name="connsiteY38" fmla="*/ 9576 h 10000"/>
              <a:gd name="connsiteX39" fmla="*/ 5002 w 10403"/>
              <a:gd name="connsiteY39" fmla="*/ 10000 h 10000"/>
              <a:gd name="connsiteX40" fmla="*/ 4553 w 10403"/>
              <a:gd name="connsiteY40" fmla="*/ 9576 h 10000"/>
              <a:gd name="connsiteX41" fmla="*/ 4105 w 10403"/>
              <a:gd name="connsiteY41" fmla="*/ 8803 h 10000"/>
              <a:gd name="connsiteX42" fmla="*/ 2736 w 10403"/>
              <a:gd name="connsiteY42" fmla="*/ 8803 h 10000"/>
              <a:gd name="connsiteX43" fmla="*/ 1817 w 10403"/>
              <a:gd name="connsiteY43" fmla="*/ 8803 h 10000"/>
              <a:gd name="connsiteX44" fmla="*/ 448 w 10403"/>
              <a:gd name="connsiteY44" fmla="*/ 8803 h 10000"/>
              <a:gd name="connsiteX0" fmla="*/ 448 w 10403"/>
              <a:gd name="connsiteY0" fmla="*/ 8803 h 10000"/>
              <a:gd name="connsiteX1" fmla="*/ 448 w 10403"/>
              <a:gd name="connsiteY1" fmla="*/ 8803 h 10000"/>
              <a:gd name="connsiteX2" fmla="*/ 448 w 10403"/>
              <a:gd name="connsiteY2" fmla="*/ 7980 h 10000"/>
              <a:gd name="connsiteX3" fmla="*/ 1369 w 10403"/>
              <a:gd name="connsiteY3" fmla="*/ 7606 h 10000"/>
              <a:gd name="connsiteX4" fmla="*/ 922 w 10403"/>
              <a:gd name="connsiteY4" fmla="*/ 6783 h 10000"/>
              <a:gd name="connsiteX5" fmla="*/ 448 w 10403"/>
              <a:gd name="connsiteY5" fmla="*/ 6409 h 10000"/>
              <a:gd name="connsiteX6" fmla="*/ 0 w 10403"/>
              <a:gd name="connsiteY6" fmla="*/ 5586 h 10000"/>
              <a:gd name="connsiteX7" fmla="*/ 922 w 10403"/>
              <a:gd name="connsiteY7" fmla="*/ 5985 h 10000"/>
              <a:gd name="connsiteX8" fmla="*/ 3632 w 10403"/>
              <a:gd name="connsiteY8" fmla="*/ 5586 h 10000"/>
              <a:gd name="connsiteX9" fmla="*/ 3632 w 10403"/>
              <a:gd name="connsiteY9" fmla="*/ 4788 h 10000"/>
              <a:gd name="connsiteX10" fmla="*/ 4105 w 10403"/>
              <a:gd name="connsiteY10" fmla="*/ 4389 h 10000"/>
              <a:gd name="connsiteX11" fmla="*/ 5921 w 10403"/>
              <a:gd name="connsiteY11" fmla="*/ 4015 h 10000"/>
              <a:gd name="connsiteX12" fmla="*/ 5921 w 10403"/>
              <a:gd name="connsiteY12" fmla="*/ 3192 h 10000"/>
              <a:gd name="connsiteX13" fmla="*/ 6369 w 10403"/>
              <a:gd name="connsiteY13" fmla="*/ 2818 h 10000"/>
              <a:gd name="connsiteX14" fmla="*/ 6369 w 10403"/>
              <a:gd name="connsiteY14" fmla="*/ 2394 h 10000"/>
              <a:gd name="connsiteX15" fmla="*/ 6815 w 10403"/>
              <a:gd name="connsiteY15" fmla="*/ 2394 h 10000"/>
              <a:gd name="connsiteX16" fmla="*/ 7290 w 10403"/>
              <a:gd name="connsiteY16" fmla="*/ 1621 h 10000"/>
              <a:gd name="connsiteX17" fmla="*/ 7290 w 10403"/>
              <a:gd name="connsiteY17" fmla="*/ 798 h 10000"/>
              <a:gd name="connsiteX18" fmla="*/ 8186 w 10403"/>
              <a:gd name="connsiteY18" fmla="*/ 424 h 10000"/>
              <a:gd name="connsiteX19" fmla="*/ 9107 w 10403"/>
              <a:gd name="connsiteY19" fmla="*/ 0 h 10000"/>
              <a:gd name="connsiteX20" fmla="*/ 9554 w 10403"/>
              <a:gd name="connsiteY20" fmla="*/ 0 h 10000"/>
              <a:gd name="connsiteX21" fmla="*/ 9074 w 10403"/>
              <a:gd name="connsiteY21" fmla="*/ 800 h 10000"/>
              <a:gd name="connsiteX22" fmla="*/ 9554 w 10403"/>
              <a:gd name="connsiteY22" fmla="*/ 1621 h 10000"/>
              <a:gd name="connsiteX23" fmla="*/ 9107 w 10403"/>
              <a:gd name="connsiteY23" fmla="*/ 1995 h 10000"/>
              <a:gd name="connsiteX24" fmla="*/ 9554 w 10403"/>
              <a:gd name="connsiteY24" fmla="*/ 2394 h 10000"/>
              <a:gd name="connsiteX25" fmla="*/ 10023 w 10403"/>
              <a:gd name="connsiteY25" fmla="*/ 2850 h 10000"/>
              <a:gd name="connsiteX26" fmla="*/ 10381 w 10403"/>
              <a:gd name="connsiteY26" fmla="*/ 3200 h 10000"/>
              <a:gd name="connsiteX27" fmla="*/ 10000 w 10403"/>
              <a:gd name="connsiteY27" fmla="*/ 4389 h 10000"/>
              <a:gd name="connsiteX28" fmla="*/ 7738 w 10403"/>
              <a:gd name="connsiteY28" fmla="*/ 6783 h 10000"/>
              <a:gd name="connsiteX29" fmla="*/ 6815 w 10403"/>
              <a:gd name="connsiteY29" fmla="*/ 7182 h 10000"/>
              <a:gd name="connsiteX30" fmla="*/ 6369 w 10403"/>
              <a:gd name="connsiteY30" fmla="*/ 6783 h 10000"/>
              <a:gd name="connsiteX31" fmla="*/ 5921 w 10403"/>
              <a:gd name="connsiteY31" fmla="*/ 7182 h 10000"/>
              <a:gd name="connsiteX32" fmla="*/ 5921 w 10403"/>
              <a:gd name="connsiteY32" fmla="*/ 7980 h 10000"/>
              <a:gd name="connsiteX33" fmla="*/ 6369 w 10403"/>
              <a:gd name="connsiteY33" fmla="*/ 7980 h 10000"/>
              <a:gd name="connsiteX34" fmla="*/ 6369 w 10403"/>
              <a:gd name="connsiteY34" fmla="*/ 8379 h 10000"/>
              <a:gd name="connsiteX35" fmla="*/ 6815 w 10403"/>
              <a:gd name="connsiteY35" fmla="*/ 8379 h 10000"/>
              <a:gd name="connsiteX36" fmla="*/ 6815 w 10403"/>
              <a:gd name="connsiteY36" fmla="*/ 9177 h 10000"/>
              <a:gd name="connsiteX37" fmla="*/ 6815 w 10403"/>
              <a:gd name="connsiteY37" fmla="*/ 9576 h 10000"/>
              <a:gd name="connsiteX38" fmla="*/ 5448 w 10403"/>
              <a:gd name="connsiteY38" fmla="*/ 9576 h 10000"/>
              <a:gd name="connsiteX39" fmla="*/ 5002 w 10403"/>
              <a:gd name="connsiteY39" fmla="*/ 10000 h 10000"/>
              <a:gd name="connsiteX40" fmla="*/ 4553 w 10403"/>
              <a:gd name="connsiteY40" fmla="*/ 9576 h 10000"/>
              <a:gd name="connsiteX41" fmla="*/ 4105 w 10403"/>
              <a:gd name="connsiteY41" fmla="*/ 8803 h 10000"/>
              <a:gd name="connsiteX42" fmla="*/ 2736 w 10403"/>
              <a:gd name="connsiteY42" fmla="*/ 8803 h 10000"/>
              <a:gd name="connsiteX43" fmla="*/ 1817 w 10403"/>
              <a:gd name="connsiteY43" fmla="*/ 8803 h 10000"/>
              <a:gd name="connsiteX44" fmla="*/ 448 w 10403"/>
              <a:gd name="connsiteY44" fmla="*/ 880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0403" h="10000">
                <a:moveTo>
                  <a:pt x="448" y="8803"/>
                </a:moveTo>
                <a:lnTo>
                  <a:pt x="448" y="8803"/>
                </a:lnTo>
                <a:lnTo>
                  <a:pt x="448" y="7980"/>
                </a:lnTo>
                <a:lnTo>
                  <a:pt x="1369" y="7606"/>
                </a:lnTo>
                <a:lnTo>
                  <a:pt x="922" y="6783"/>
                </a:lnTo>
                <a:lnTo>
                  <a:pt x="448" y="6409"/>
                </a:lnTo>
                <a:lnTo>
                  <a:pt x="0" y="5586"/>
                </a:lnTo>
                <a:lnTo>
                  <a:pt x="922" y="5985"/>
                </a:lnTo>
                <a:lnTo>
                  <a:pt x="3632" y="5586"/>
                </a:lnTo>
                <a:lnTo>
                  <a:pt x="3632" y="4788"/>
                </a:lnTo>
                <a:lnTo>
                  <a:pt x="4105" y="4389"/>
                </a:lnTo>
                <a:lnTo>
                  <a:pt x="5921" y="4015"/>
                </a:lnTo>
                <a:lnTo>
                  <a:pt x="5921" y="3192"/>
                </a:lnTo>
                <a:lnTo>
                  <a:pt x="6369" y="2818"/>
                </a:lnTo>
                <a:lnTo>
                  <a:pt x="6369" y="2394"/>
                </a:lnTo>
                <a:lnTo>
                  <a:pt x="6815" y="2394"/>
                </a:lnTo>
                <a:lnTo>
                  <a:pt x="7290" y="1621"/>
                </a:lnTo>
                <a:lnTo>
                  <a:pt x="7290" y="798"/>
                </a:lnTo>
                <a:lnTo>
                  <a:pt x="8186" y="424"/>
                </a:lnTo>
                <a:lnTo>
                  <a:pt x="9107" y="0"/>
                </a:lnTo>
                <a:lnTo>
                  <a:pt x="9554" y="0"/>
                </a:lnTo>
                <a:cubicBezTo>
                  <a:pt x="9570" y="225"/>
                  <a:pt x="9058" y="575"/>
                  <a:pt x="9074" y="800"/>
                </a:cubicBezTo>
                <a:cubicBezTo>
                  <a:pt x="9058" y="1115"/>
                  <a:pt x="9570" y="1306"/>
                  <a:pt x="9554" y="1621"/>
                </a:cubicBezTo>
                <a:lnTo>
                  <a:pt x="9107" y="1995"/>
                </a:lnTo>
                <a:lnTo>
                  <a:pt x="9554" y="2394"/>
                </a:lnTo>
                <a:lnTo>
                  <a:pt x="10023" y="2850"/>
                </a:lnTo>
                <a:cubicBezTo>
                  <a:pt x="10123" y="3101"/>
                  <a:pt x="10385" y="2944"/>
                  <a:pt x="10381" y="3200"/>
                </a:cubicBezTo>
                <a:cubicBezTo>
                  <a:pt x="10377" y="3456"/>
                  <a:pt x="10403" y="3909"/>
                  <a:pt x="10000" y="4389"/>
                </a:cubicBezTo>
                <a:lnTo>
                  <a:pt x="7738" y="6783"/>
                </a:lnTo>
                <a:lnTo>
                  <a:pt x="6815" y="7182"/>
                </a:lnTo>
                <a:lnTo>
                  <a:pt x="6369" y="6783"/>
                </a:lnTo>
                <a:lnTo>
                  <a:pt x="5921" y="7182"/>
                </a:lnTo>
                <a:lnTo>
                  <a:pt x="5921" y="7980"/>
                </a:lnTo>
                <a:lnTo>
                  <a:pt x="6369" y="7980"/>
                </a:lnTo>
                <a:lnTo>
                  <a:pt x="6369" y="8379"/>
                </a:lnTo>
                <a:lnTo>
                  <a:pt x="6815" y="8379"/>
                </a:lnTo>
                <a:lnTo>
                  <a:pt x="6815" y="9177"/>
                </a:lnTo>
                <a:lnTo>
                  <a:pt x="6815" y="9576"/>
                </a:lnTo>
                <a:lnTo>
                  <a:pt x="5448" y="9576"/>
                </a:lnTo>
                <a:lnTo>
                  <a:pt x="5002" y="10000"/>
                </a:lnTo>
                <a:lnTo>
                  <a:pt x="4553" y="9576"/>
                </a:lnTo>
                <a:lnTo>
                  <a:pt x="4105" y="8803"/>
                </a:lnTo>
                <a:lnTo>
                  <a:pt x="2736" y="8803"/>
                </a:lnTo>
                <a:lnTo>
                  <a:pt x="1817" y="8803"/>
                </a:lnTo>
                <a:lnTo>
                  <a:pt x="448" y="8803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Freeform 284"/>
          <p:cNvSpPr>
            <a:spLocks/>
          </p:cNvSpPr>
          <p:nvPr/>
        </p:nvSpPr>
        <p:spPr bwMode="auto">
          <a:xfrm>
            <a:off x="4851142" y="3215528"/>
            <a:ext cx="450867" cy="684527"/>
          </a:xfrm>
          <a:custGeom>
            <a:avLst/>
            <a:gdLst>
              <a:gd name="T0" fmla="*/ 6327 w 275"/>
              <a:gd name="T1" fmla="*/ 3190 h 414"/>
              <a:gd name="T2" fmla="*/ 6327 w 275"/>
              <a:gd name="T3" fmla="*/ 3190 h 414"/>
              <a:gd name="T4" fmla="*/ 6327 w 275"/>
              <a:gd name="T5" fmla="*/ 9571 h 414"/>
              <a:gd name="T6" fmla="*/ 13445 w 275"/>
              <a:gd name="T7" fmla="*/ 15952 h 414"/>
              <a:gd name="T8" fmla="*/ 10281 w 275"/>
              <a:gd name="T9" fmla="*/ 35094 h 414"/>
              <a:gd name="T10" fmla="*/ 0 w 275"/>
              <a:gd name="T11" fmla="*/ 48653 h 414"/>
              <a:gd name="T12" fmla="*/ 0 w 275"/>
              <a:gd name="T13" fmla="*/ 51045 h 414"/>
              <a:gd name="T14" fmla="*/ 3163 w 275"/>
              <a:gd name="T15" fmla="*/ 54236 h 414"/>
              <a:gd name="T16" fmla="*/ 3163 w 275"/>
              <a:gd name="T17" fmla="*/ 58224 h 414"/>
              <a:gd name="T18" fmla="*/ 10281 w 275"/>
              <a:gd name="T19" fmla="*/ 70187 h 414"/>
              <a:gd name="T20" fmla="*/ 3163 w 275"/>
              <a:gd name="T21" fmla="*/ 70187 h 414"/>
              <a:gd name="T22" fmla="*/ 3163 w 275"/>
              <a:gd name="T23" fmla="*/ 73378 h 414"/>
              <a:gd name="T24" fmla="*/ 6327 w 275"/>
              <a:gd name="T25" fmla="*/ 77366 h 414"/>
              <a:gd name="T26" fmla="*/ 10281 w 275"/>
              <a:gd name="T27" fmla="*/ 83746 h 414"/>
              <a:gd name="T28" fmla="*/ 26889 w 275"/>
              <a:gd name="T29" fmla="*/ 79758 h 414"/>
              <a:gd name="T30" fmla="*/ 30053 w 275"/>
              <a:gd name="T31" fmla="*/ 77366 h 414"/>
              <a:gd name="T32" fmla="*/ 26889 w 275"/>
              <a:gd name="T33" fmla="*/ 77366 h 414"/>
              <a:gd name="T34" fmla="*/ 37171 w 275"/>
              <a:gd name="T35" fmla="*/ 73378 h 414"/>
              <a:gd name="T36" fmla="*/ 43498 w 275"/>
              <a:gd name="T37" fmla="*/ 67795 h 414"/>
              <a:gd name="T38" fmla="*/ 47452 w 275"/>
              <a:gd name="T39" fmla="*/ 63807 h 414"/>
              <a:gd name="T40" fmla="*/ 50615 w 275"/>
              <a:gd name="T41" fmla="*/ 63807 h 414"/>
              <a:gd name="T42" fmla="*/ 43498 w 275"/>
              <a:gd name="T43" fmla="*/ 54236 h 414"/>
              <a:gd name="T44" fmla="*/ 50615 w 275"/>
              <a:gd name="T45" fmla="*/ 41474 h 414"/>
              <a:gd name="T46" fmla="*/ 53779 w 275"/>
              <a:gd name="T47" fmla="*/ 41474 h 414"/>
              <a:gd name="T48" fmla="*/ 53779 w 275"/>
              <a:gd name="T49" fmla="*/ 38284 h 414"/>
              <a:gd name="T50" fmla="*/ 53779 w 275"/>
              <a:gd name="T51" fmla="*/ 22332 h 414"/>
              <a:gd name="T52" fmla="*/ 13445 w 275"/>
              <a:gd name="T53" fmla="*/ 0 h 414"/>
              <a:gd name="T54" fmla="*/ 6327 w 275"/>
              <a:gd name="T55" fmla="*/ 3190 h 41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75"/>
              <a:gd name="T85" fmla="*/ 0 h 414"/>
              <a:gd name="T86" fmla="*/ 275 w 275"/>
              <a:gd name="T87" fmla="*/ 414 h 41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75" h="414">
                <a:moveTo>
                  <a:pt x="35" y="15"/>
                </a:moveTo>
                <a:lnTo>
                  <a:pt x="35" y="15"/>
                </a:lnTo>
                <a:lnTo>
                  <a:pt x="35" y="48"/>
                </a:lnTo>
                <a:lnTo>
                  <a:pt x="70" y="79"/>
                </a:lnTo>
                <a:lnTo>
                  <a:pt x="52" y="175"/>
                </a:lnTo>
                <a:lnTo>
                  <a:pt x="0" y="240"/>
                </a:lnTo>
                <a:lnTo>
                  <a:pt x="0" y="255"/>
                </a:lnTo>
                <a:lnTo>
                  <a:pt x="18" y="270"/>
                </a:lnTo>
                <a:lnTo>
                  <a:pt x="18" y="288"/>
                </a:lnTo>
                <a:lnTo>
                  <a:pt x="52" y="351"/>
                </a:lnTo>
                <a:lnTo>
                  <a:pt x="18" y="351"/>
                </a:lnTo>
                <a:lnTo>
                  <a:pt x="18" y="366"/>
                </a:lnTo>
                <a:lnTo>
                  <a:pt x="35" y="384"/>
                </a:lnTo>
                <a:lnTo>
                  <a:pt x="52" y="414"/>
                </a:lnTo>
                <a:lnTo>
                  <a:pt x="137" y="399"/>
                </a:lnTo>
                <a:lnTo>
                  <a:pt x="154" y="384"/>
                </a:lnTo>
                <a:lnTo>
                  <a:pt x="137" y="384"/>
                </a:lnTo>
                <a:lnTo>
                  <a:pt x="189" y="366"/>
                </a:lnTo>
                <a:lnTo>
                  <a:pt x="223" y="336"/>
                </a:lnTo>
                <a:lnTo>
                  <a:pt x="240" y="318"/>
                </a:lnTo>
                <a:lnTo>
                  <a:pt x="258" y="318"/>
                </a:lnTo>
                <a:lnTo>
                  <a:pt x="223" y="270"/>
                </a:lnTo>
                <a:lnTo>
                  <a:pt x="258" y="207"/>
                </a:lnTo>
                <a:lnTo>
                  <a:pt x="275" y="207"/>
                </a:lnTo>
                <a:lnTo>
                  <a:pt x="275" y="192"/>
                </a:lnTo>
                <a:lnTo>
                  <a:pt x="275" y="111"/>
                </a:lnTo>
                <a:lnTo>
                  <a:pt x="70" y="0"/>
                </a:lnTo>
                <a:lnTo>
                  <a:pt x="35" y="15"/>
                </a:lnTo>
                <a:close/>
              </a:path>
            </a:pathLst>
          </a:custGeom>
          <a:solidFill>
            <a:srgbClr val="5BAD8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Freeform 312"/>
          <p:cNvSpPr>
            <a:spLocks/>
          </p:cNvSpPr>
          <p:nvPr/>
        </p:nvSpPr>
        <p:spPr bwMode="auto">
          <a:xfrm>
            <a:off x="4357494" y="3636775"/>
            <a:ext cx="519977" cy="394919"/>
          </a:xfrm>
          <a:custGeom>
            <a:avLst/>
            <a:gdLst>
              <a:gd name="T0" fmla="*/ 30859 w 317"/>
              <a:gd name="T1" fmla="*/ 45244 h 240"/>
              <a:gd name="T2" fmla="*/ 30859 w 317"/>
              <a:gd name="T3" fmla="*/ 45244 h 240"/>
              <a:gd name="T4" fmla="*/ 37980 w 317"/>
              <a:gd name="T5" fmla="*/ 35719 h 240"/>
              <a:gd name="T6" fmla="*/ 41145 w 317"/>
              <a:gd name="T7" fmla="*/ 35719 h 240"/>
              <a:gd name="T8" fmla="*/ 45101 w 317"/>
              <a:gd name="T9" fmla="*/ 38100 h 240"/>
              <a:gd name="T10" fmla="*/ 48266 w 317"/>
              <a:gd name="T11" fmla="*/ 35719 h 240"/>
              <a:gd name="T12" fmla="*/ 55387 w 317"/>
              <a:gd name="T13" fmla="*/ 26194 h 240"/>
              <a:gd name="T14" fmla="*/ 58552 w 317"/>
              <a:gd name="T15" fmla="*/ 16669 h 240"/>
              <a:gd name="T16" fmla="*/ 62508 w 317"/>
              <a:gd name="T17" fmla="*/ 9525 h 240"/>
              <a:gd name="T18" fmla="*/ 62508 w 317"/>
              <a:gd name="T19" fmla="*/ 7144 h 240"/>
              <a:gd name="T20" fmla="*/ 62508 w 317"/>
              <a:gd name="T21" fmla="*/ 3175 h 240"/>
              <a:gd name="T22" fmla="*/ 58552 w 317"/>
              <a:gd name="T23" fmla="*/ 0 h 240"/>
              <a:gd name="T24" fmla="*/ 55387 w 317"/>
              <a:gd name="T25" fmla="*/ 0 h 240"/>
              <a:gd name="T26" fmla="*/ 52222 w 317"/>
              <a:gd name="T27" fmla="*/ 3175 h 240"/>
              <a:gd name="T28" fmla="*/ 41145 w 317"/>
              <a:gd name="T29" fmla="*/ 3175 h 240"/>
              <a:gd name="T30" fmla="*/ 34815 w 317"/>
              <a:gd name="T31" fmla="*/ 7144 h 240"/>
              <a:gd name="T32" fmla="*/ 27694 w 317"/>
              <a:gd name="T33" fmla="*/ 3175 h 240"/>
              <a:gd name="T34" fmla="*/ 23737 w 317"/>
              <a:gd name="T35" fmla="*/ 3175 h 240"/>
              <a:gd name="T36" fmla="*/ 13451 w 317"/>
              <a:gd name="T37" fmla="*/ 0 h 240"/>
              <a:gd name="T38" fmla="*/ 10286 w 317"/>
              <a:gd name="T39" fmla="*/ 0 h 240"/>
              <a:gd name="T40" fmla="*/ 3165 w 317"/>
              <a:gd name="T41" fmla="*/ 7144 h 240"/>
              <a:gd name="T42" fmla="*/ 3165 w 317"/>
              <a:gd name="T43" fmla="*/ 9525 h 240"/>
              <a:gd name="T44" fmla="*/ 3165 w 317"/>
              <a:gd name="T45" fmla="*/ 16669 h 240"/>
              <a:gd name="T46" fmla="*/ 0 w 317"/>
              <a:gd name="T47" fmla="*/ 28575 h 240"/>
              <a:gd name="T48" fmla="*/ 0 w 317"/>
              <a:gd name="T49" fmla="*/ 38100 h 240"/>
              <a:gd name="T50" fmla="*/ 10286 w 317"/>
              <a:gd name="T51" fmla="*/ 38100 h 240"/>
              <a:gd name="T52" fmla="*/ 10286 w 317"/>
              <a:gd name="T53" fmla="*/ 41275 h 240"/>
              <a:gd name="T54" fmla="*/ 13451 w 317"/>
              <a:gd name="T55" fmla="*/ 47625 h 240"/>
              <a:gd name="T56" fmla="*/ 17407 w 317"/>
              <a:gd name="T57" fmla="*/ 47625 h 240"/>
              <a:gd name="T58" fmla="*/ 30859 w 317"/>
              <a:gd name="T59" fmla="*/ 47625 h 240"/>
              <a:gd name="T60" fmla="*/ 30859 w 317"/>
              <a:gd name="T61" fmla="*/ 45244 h 24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317"/>
              <a:gd name="T94" fmla="*/ 0 h 240"/>
              <a:gd name="T95" fmla="*/ 317 w 317"/>
              <a:gd name="T96" fmla="*/ 240 h 24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317" h="240">
                <a:moveTo>
                  <a:pt x="159" y="225"/>
                </a:moveTo>
                <a:lnTo>
                  <a:pt x="159" y="225"/>
                </a:lnTo>
                <a:lnTo>
                  <a:pt x="194" y="177"/>
                </a:lnTo>
                <a:lnTo>
                  <a:pt x="211" y="177"/>
                </a:lnTo>
                <a:lnTo>
                  <a:pt x="228" y="192"/>
                </a:lnTo>
                <a:lnTo>
                  <a:pt x="246" y="177"/>
                </a:lnTo>
                <a:lnTo>
                  <a:pt x="282" y="129"/>
                </a:lnTo>
                <a:lnTo>
                  <a:pt x="299" y="81"/>
                </a:lnTo>
                <a:lnTo>
                  <a:pt x="317" y="48"/>
                </a:lnTo>
                <a:lnTo>
                  <a:pt x="317" y="33"/>
                </a:lnTo>
                <a:lnTo>
                  <a:pt x="317" y="15"/>
                </a:lnTo>
                <a:lnTo>
                  <a:pt x="299" y="0"/>
                </a:lnTo>
                <a:lnTo>
                  <a:pt x="282" y="0"/>
                </a:lnTo>
                <a:lnTo>
                  <a:pt x="265" y="15"/>
                </a:lnTo>
                <a:lnTo>
                  <a:pt x="211" y="15"/>
                </a:lnTo>
                <a:lnTo>
                  <a:pt x="177" y="33"/>
                </a:lnTo>
                <a:lnTo>
                  <a:pt x="142" y="15"/>
                </a:lnTo>
                <a:lnTo>
                  <a:pt x="123" y="15"/>
                </a:lnTo>
                <a:lnTo>
                  <a:pt x="71" y="0"/>
                </a:lnTo>
                <a:lnTo>
                  <a:pt x="54" y="0"/>
                </a:lnTo>
                <a:lnTo>
                  <a:pt x="19" y="33"/>
                </a:lnTo>
                <a:lnTo>
                  <a:pt x="19" y="48"/>
                </a:lnTo>
                <a:lnTo>
                  <a:pt x="19" y="81"/>
                </a:lnTo>
                <a:lnTo>
                  <a:pt x="0" y="144"/>
                </a:lnTo>
                <a:lnTo>
                  <a:pt x="0" y="192"/>
                </a:lnTo>
                <a:lnTo>
                  <a:pt x="54" y="192"/>
                </a:lnTo>
                <a:lnTo>
                  <a:pt x="54" y="207"/>
                </a:lnTo>
                <a:lnTo>
                  <a:pt x="71" y="240"/>
                </a:lnTo>
                <a:lnTo>
                  <a:pt x="88" y="240"/>
                </a:lnTo>
                <a:lnTo>
                  <a:pt x="159" y="240"/>
                </a:lnTo>
                <a:lnTo>
                  <a:pt x="159" y="225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Freeform 290"/>
          <p:cNvSpPr>
            <a:spLocks/>
          </p:cNvSpPr>
          <p:nvPr/>
        </p:nvSpPr>
        <p:spPr bwMode="auto">
          <a:xfrm>
            <a:off x="5733129" y="3584120"/>
            <a:ext cx="654909" cy="473903"/>
          </a:xfrm>
          <a:custGeom>
            <a:avLst/>
            <a:gdLst>
              <a:gd name="T0" fmla="*/ 48297 w 399"/>
              <a:gd name="T1" fmla="*/ 13494 h 288"/>
              <a:gd name="T2" fmla="*/ 48297 w 399"/>
              <a:gd name="T3" fmla="*/ 13494 h 288"/>
              <a:gd name="T4" fmla="*/ 48297 w 399"/>
              <a:gd name="T5" fmla="*/ 19050 h 288"/>
              <a:gd name="T6" fmla="*/ 48297 w 399"/>
              <a:gd name="T7" fmla="*/ 22225 h 288"/>
              <a:gd name="T8" fmla="*/ 51465 w 399"/>
              <a:gd name="T9" fmla="*/ 22225 h 288"/>
              <a:gd name="T10" fmla="*/ 51465 w 399"/>
              <a:gd name="T11" fmla="*/ 26194 h 288"/>
              <a:gd name="T12" fmla="*/ 58590 w 399"/>
              <a:gd name="T13" fmla="*/ 31750 h 288"/>
              <a:gd name="T14" fmla="*/ 75217 w 399"/>
              <a:gd name="T15" fmla="*/ 34925 h 288"/>
              <a:gd name="T16" fmla="*/ 78384 w 399"/>
              <a:gd name="T17" fmla="*/ 34925 h 288"/>
              <a:gd name="T18" fmla="*/ 64924 w 399"/>
              <a:gd name="T19" fmla="*/ 51594 h 288"/>
              <a:gd name="T20" fmla="*/ 54632 w 399"/>
              <a:gd name="T21" fmla="*/ 51594 h 288"/>
              <a:gd name="T22" fmla="*/ 48297 w 399"/>
              <a:gd name="T23" fmla="*/ 57150 h 288"/>
              <a:gd name="T24" fmla="*/ 40380 w 399"/>
              <a:gd name="T25" fmla="*/ 54769 h 288"/>
              <a:gd name="T26" fmla="*/ 30879 w 399"/>
              <a:gd name="T27" fmla="*/ 57150 h 288"/>
              <a:gd name="T28" fmla="*/ 13460 w 399"/>
              <a:gd name="T29" fmla="*/ 54769 h 288"/>
              <a:gd name="T30" fmla="*/ 13460 w 399"/>
              <a:gd name="T31" fmla="*/ 47625 h 288"/>
              <a:gd name="T32" fmla="*/ 10293 w 399"/>
              <a:gd name="T33" fmla="*/ 47625 h 288"/>
              <a:gd name="T34" fmla="*/ 3167 w 399"/>
              <a:gd name="T35" fmla="*/ 38100 h 288"/>
              <a:gd name="T36" fmla="*/ 0 w 399"/>
              <a:gd name="T37" fmla="*/ 34925 h 288"/>
              <a:gd name="T38" fmla="*/ 3167 w 399"/>
              <a:gd name="T39" fmla="*/ 31750 h 288"/>
              <a:gd name="T40" fmla="*/ 6334 w 399"/>
              <a:gd name="T41" fmla="*/ 22225 h 288"/>
              <a:gd name="T42" fmla="*/ 16627 w 399"/>
              <a:gd name="T43" fmla="*/ 9525 h 288"/>
              <a:gd name="T44" fmla="*/ 16627 w 399"/>
              <a:gd name="T45" fmla="*/ 3969 h 288"/>
              <a:gd name="T46" fmla="*/ 20586 w 399"/>
              <a:gd name="T47" fmla="*/ 3969 h 288"/>
              <a:gd name="T48" fmla="*/ 23753 w 399"/>
              <a:gd name="T49" fmla="*/ 7144 h 288"/>
              <a:gd name="T50" fmla="*/ 23753 w 399"/>
              <a:gd name="T51" fmla="*/ 0 h 288"/>
              <a:gd name="T52" fmla="*/ 26920 w 399"/>
              <a:gd name="T53" fmla="*/ 3969 h 288"/>
              <a:gd name="T54" fmla="*/ 37213 w 399"/>
              <a:gd name="T55" fmla="*/ 3969 h 288"/>
              <a:gd name="T56" fmla="*/ 48297 w 399"/>
              <a:gd name="T57" fmla="*/ 13494 h 28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99"/>
              <a:gd name="T88" fmla="*/ 0 h 288"/>
              <a:gd name="T89" fmla="*/ 399 w 399"/>
              <a:gd name="T90" fmla="*/ 288 h 28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99" h="288">
                <a:moveTo>
                  <a:pt x="244" y="66"/>
                </a:moveTo>
                <a:lnTo>
                  <a:pt x="244" y="66"/>
                </a:lnTo>
                <a:lnTo>
                  <a:pt x="244" y="96"/>
                </a:lnTo>
                <a:lnTo>
                  <a:pt x="244" y="114"/>
                </a:lnTo>
                <a:lnTo>
                  <a:pt x="261" y="114"/>
                </a:lnTo>
                <a:lnTo>
                  <a:pt x="261" y="129"/>
                </a:lnTo>
                <a:lnTo>
                  <a:pt x="296" y="162"/>
                </a:lnTo>
                <a:lnTo>
                  <a:pt x="382" y="177"/>
                </a:lnTo>
                <a:lnTo>
                  <a:pt x="399" y="177"/>
                </a:lnTo>
                <a:lnTo>
                  <a:pt x="330" y="258"/>
                </a:lnTo>
                <a:lnTo>
                  <a:pt x="278" y="258"/>
                </a:lnTo>
                <a:lnTo>
                  <a:pt x="244" y="288"/>
                </a:lnTo>
                <a:lnTo>
                  <a:pt x="207" y="273"/>
                </a:lnTo>
                <a:lnTo>
                  <a:pt x="156" y="288"/>
                </a:lnTo>
                <a:lnTo>
                  <a:pt x="69" y="273"/>
                </a:lnTo>
                <a:lnTo>
                  <a:pt x="69" y="240"/>
                </a:lnTo>
                <a:lnTo>
                  <a:pt x="52" y="240"/>
                </a:lnTo>
                <a:lnTo>
                  <a:pt x="17" y="192"/>
                </a:lnTo>
                <a:lnTo>
                  <a:pt x="0" y="177"/>
                </a:lnTo>
                <a:lnTo>
                  <a:pt x="17" y="162"/>
                </a:lnTo>
                <a:lnTo>
                  <a:pt x="35" y="114"/>
                </a:lnTo>
                <a:lnTo>
                  <a:pt x="86" y="48"/>
                </a:lnTo>
                <a:lnTo>
                  <a:pt x="86" y="18"/>
                </a:lnTo>
                <a:lnTo>
                  <a:pt x="104" y="18"/>
                </a:lnTo>
                <a:lnTo>
                  <a:pt x="121" y="33"/>
                </a:lnTo>
                <a:lnTo>
                  <a:pt x="121" y="0"/>
                </a:lnTo>
                <a:lnTo>
                  <a:pt x="138" y="18"/>
                </a:lnTo>
                <a:lnTo>
                  <a:pt x="190" y="18"/>
                </a:lnTo>
                <a:lnTo>
                  <a:pt x="244" y="66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Freeform 288"/>
          <p:cNvSpPr>
            <a:spLocks/>
          </p:cNvSpPr>
          <p:nvPr/>
        </p:nvSpPr>
        <p:spPr bwMode="auto">
          <a:xfrm>
            <a:off x="4788614" y="4005367"/>
            <a:ext cx="858951" cy="763511"/>
          </a:xfrm>
          <a:custGeom>
            <a:avLst/>
            <a:gdLst>
              <a:gd name="T0" fmla="*/ 83664 w 520"/>
              <a:gd name="T1" fmla="*/ 0 h 462"/>
              <a:gd name="T2" fmla="*/ 83664 w 520"/>
              <a:gd name="T3" fmla="*/ 0 h 462"/>
              <a:gd name="T4" fmla="*/ 58963 w 520"/>
              <a:gd name="T5" fmla="*/ 0 h 462"/>
              <a:gd name="T6" fmla="*/ 55776 w 520"/>
              <a:gd name="T7" fmla="*/ 3189 h 462"/>
              <a:gd name="T8" fmla="*/ 45418 w 520"/>
              <a:gd name="T9" fmla="*/ 3189 h 462"/>
              <a:gd name="T10" fmla="*/ 41434 w 520"/>
              <a:gd name="T11" fmla="*/ 0 h 462"/>
              <a:gd name="T12" fmla="*/ 38247 w 520"/>
              <a:gd name="T13" fmla="*/ 0 h 462"/>
              <a:gd name="T14" fmla="*/ 35059 w 520"/>
              <a:gd name="T15" fmla="*/ 6377 h 462"/>
              <a:gd name="T16" fmla="*/ 27888 w 520"/>
              <a:gd name="T17" fmla="*/ 28699 h 462"/>
              <a:gd name="T18" fmla="*/ 20717 w 520"/>
              <a:gd name="T19" fmla="*/ 35076 h 462"/>
              <a:gd name="T20" fmla="*/ 17530 w 520"/>
              <a:gd name="T21" fmla="*/ 44642 h 462"/>
              <a:gd name="T22" fmla="*/ 10358 w 520"/>
              <a:gd name="T23" fmla="*/ 47831 h 462"/>
              <a:gd name="T24" fmla="*/ 3984 w 520"/>
              <a:gd name="T25" fmla="*/ 47831 h 462"/>
              <a:gd name="T26" fmla="*/ 0 w 520"/>
              <a:gd name="T27" fmla="*/ 54209 h 462"/>
              <a:gd name="T28" fmla="*/ 0 w 520"/>
              <a:gd name="T29" fmla="*/ 57397 h 462"/>
              <a:gd name="T30" fmla="*/ 7171 w 520"/>
              <a:gd name="T31" fmla="*/ 54209 h 462"/>
              <a:gd name="T32" fmla="*/ 20717 w 520"/>
              <a:gd name="T33" fmla="*/ 54209 h 462"/>
              <a:gd name="T34" fmla="*/ 24701 w 520"/>
              <a:gd name="T35" fmla="*/ 54209 h 462"/>
              <a:gd name="T36" fmla="*/ 24701 w 520"/>
              <a:gd name="T37" fmla="*/ 60586 h 462"/>
              <a:gd name="T38" fmla="*/ 31075 w 520"/>
              <a:gd name="T39" fmla="*/ 66964 h 462"/>
              <a:gd name="T40" fmla="*/ 38247 w 520"/>
              <a:gd name="T41" fmla="*/ 63775 h 462"/>
              <a:gd name="T42" fmla="*/ 38247 w 520"/>
              <a:gd name="T43" fmla="*/ 60586 h 462"/>
              <a:gd name="T44" fmla="*/ 45418 w 520"/>
              <a:gd name="T45" fmla="*/ 60586 h 462"/>
              <a:gd name="T46" fmla="*/ 51792 w 520"/>
              <a:gd name="T47" fmla="*/ 63775 h 462"/>
              <a:gd name="T48" fmla="*/ 51792 w 520"/>
              <a:gd name="T49" fmla="*/ 73341 h 462"/>
              <a:gd name="T50" fmla="*/ 55776 w 520"/>
              <a:gd name="T51" fmla="*/ 76530 h 462"/>
              <a:gd name="T52" fmla="*/ 51792 w 520"/>
              <a:gd name="T53" fmla="*/ 79719 h 462"/>
              <a:gd name="T54" fmla="*/ 51792 w 520"/>
              <a:gd name="T55" fmla="*/ 82907 h 462"/>
              <a:gd name="T56" fmla="*/ 62151 w 520"/>
              <a:gd name="T57" fmla="*/ 79719 h 462"/>
              <a:gd name="T58" fmla="*/ 76493 w 520"/>
              <a:gd name="T59" fmla="*/ 86096 h 462"/>
              <a:gd name="T60" fmla="*/ 79680 w 520"/>
              <a:gd name="T61" fmla="*/ 82907 h 462"/>
              <a:gd name="T62" fmla="*/ 90039 w 520"/>
              <a:gd name="T63" fmla="*/ 89285 h 462"/>
              <a:gd name="T64" fmla="*/ 94023 w 520"/>
              <a:gd name="T65" fmla="*/ 93271 h 462"/>
              <a:gd name="T66" fmla="*/ 94023 w 520"/>
              <a:gd name="T67" fmla="*/ 86096 h 462"/>
              <a:gd name="T68" fmla="*/ 90039 w 520"/>
              <a:gd name="T69" fmla="*/ 86096 h 462"/>
              <a:gd name="T70" fmla="*/ 90039 w 520"/>
              <a:gd name="T71" fmla="*/ 82907 h 462"/>
              <a:gd name="T72" fmla="*/ 90039 w 520"/>
              <a:gd name="T73" fmla="*/ 70152 h 462"/>
              <a:gd name="T74" fmla="*/ 90039 w 520"/>
              <a:gd name="T75" fmla="*/ 66964 h 462"/>
              <a:gd name="T76" fmla="*/ 100397 w 520"/>
              <a:gd name="T77" fmla="*/ 66964 h 462"/>
              <a:gd name="T78" fmla="*/ 94023 w 520"/>
              <a:gd name="T79" fmla="*/ 57397 h 462"/>
              <a:gd name="T80" fmla="*/ 94023 w 520"/>
              <a:gd name="T81" fmla="*/ 47831 h 462"/>
              <a:gd name="T82" fmla="*/ 94023 w 520"/>
              <a:gd name="T83" fmla="*/ 41454 h 462"/>
              <a:gd name="T84" fmla="*/ 94023 w 520"/>
              <a:gd name="T85" fmla="*/ 38265 h 462"/>
              <a:gd name="T86" fmla="*/ 90039 w 520"/>
              <a:gd name="T87" fmla="*/ 38265 h 462"/>
              <a:gd name="T88" fmla="*/ 94023 w 520"/>
              <a:gd name="T89" fmla="*/ 31887 h 462"/>
              <a:gd name="T90" fmla="*/ 97210 w 520"/>
              <a:gd name="T91" fmla="*/ 22321 h 462"/>
              <a:gd name="T92" fmla="*/ 100397 w 520"/>
              <a:gd name="T93" fmla="*/ 19132 h 462"/>
              <a:gd name="T94" fmla="*/ 104381 w 520"/>
              <a:gd name="T95" fmla="*/ 12755 h 462"/>
              <a:gd name="T96" fmla="*/ 100397 w 520"/>
              <a:gd name="T97" fmla="*/ 12755 h 462"/>
              <a:gd name="T98" fmla="*/ 100397 w 520"/>
              <a:gd name="T99" fmla="*/ 6377 h 462"/>
              <a:gd name="T100" fmla="*/ 97210 w 520"/>
              <a:gd name="T101" fmla="*/ 3189 h 462"/>
              <a:gd name="T102" fmla="*/ 86852 w 520"/>
              <a:gd name="T103" fmla="*/ 3189 h 462"/>
              <a:gd name="T104" fmla="*/ 83664 w 520"/>
              <a:gd name="T105" fmla="*/ 0 h 4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20"/>
              <a:gd name="T160" fmla="*/ 0 h 462"/>
              <a:gd name="T161" fmla="*/ 520 w 520"/>
              <a:gd name="T162" fmla="*/ 462 h 4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20" h="462">
                <a:moveTo>
                  <a:pt x="417" y="0"/>
                </a:moveTo>
                <a:lnTo>
                  <a:pt x="417" y="0"/>
                </a:lnTo>
                <a:lnTo>
                  <a:pt x="294" y="0"/>
                </a:lnTo>
                <a:lnTo>
                  <a:pt x="276" y="15"/>
                </a:lnTo>
                <a:lnTo>
                  <a:pt x="225" y="15"/>
                </a:lnTo>
                <a:lnTo>
                  <a:pt x="207" y="0"/>
                </a:lnTo>
                <a:lnTo>
                  <a:pt x="190" y="0"/>
                </a:lnTo>
                <a:lnTo>
                  <a:pt x="173" y="30"/>
                </a:lnTo>
                <a:lnTo>
                  <a:pt x="138" y="144"/>
                </a:lnTo>
                <a:lnTo>
                  <a:pt x="104" y="174"/>
                </a:lnTo>
                <a:lnTo>
                  <a:pt x="86" y="222"/>
                </a:lnTo>
                <a:lnTo>
                  <a:pt x="52" y="239"/>
                </a:lnTo>
                <a:lnTo>
                  <a:pt x="17" y="239"/>
                </a:lnTo>
                <a:lnTo>
                  <a:pt x="0" y="270"/>
                </a:lnTo>
                <a:lnTo>
                  <a:pt x="0" y="287"/>
                </a:lnTo>
                <a:lnTo>
                  <a:pt x="35" y="270"/>
                </a:lnTo>
                <a:lnTo>
                  <a:pt x="104" y="270"/>
                </a:lnTo>
                <a:lnTo>
                  <a:pt x="121" y="270"/>
                </a:lnTo>
                <a:lnTo>
                  <a:pt x="121" y="303"/>
                </a:lnTo>
                <a:lnTo>
                  <a:pt x="155" y="335"/>
                </a:lnTo>
                <a:lnTo>
                  <a:pt x="190" y="318"/>
                </a:lnTo>
                <a:lnTo>
                  <a:pt x="190" y="303"/>
                </a:lnTo>
                <a:lnTo>
                  <a:pt x="225" y="303"/>
                </a:lnTo>
                <a:lnTo>
                  <a:pt x="259" y="318"/>
                </a:lnTo>
                <a:lnTo>
                  <a:pt x="259" y="366"/>
                </a:lnTo>
                <a:lnTo>
                  <a:pt x="276" y="383"/>
                </a:lnTo>
                <a:lnTo>
                  <a:pt x="259" y="399"/>
                </a:lnTo>
                <a:lnTo>
                  <a:pt x="259" y="414"/>
                </a:lnTo>
                <a:lnTo>
                  <a:pt x="311" y="399"/>
                </a:lnTo>
                <a:lnTo>
                  <a:pt x="380" y="431"/>
                </a:lnTo>
                <a:lnTo>
                  <a:pt x="397" y="414"/>
                </a:lnTo>
                <a:lnTo>
                  <a:pt x="451" y="447"/>
                </a:lnTo>
                <a:lnTo>
                  <a:pt x="468" y="462"/>
                </a:lnTo>
                <a:lnTo>
                  <a:pt x="468" y="431"/>
                </a:lnTo>
                <a:lnTo>
                  <a:pt x="451" y="431"/>
                </a:lnTo>
                <a:lnTo>
                  <a:pt x="451" y="414"/>
                </a:lnTo>
                <a:lnTo>
                  <a:pt x="451" y="351"/>
                </a:lnTo>
                <a:lnTo>
                  <a:pt x="451" y="335"/>
                </a:lnTo>
                <a:lnTo>
                  <a:pt x="503" y="335"/>
                </a:lnTo>
                <a:lnTo>
                  <a:pt x="468" y="287"/>
                </a:lnTo>
                <a:lnTo>
                  <a:pt x="468" y="239"/>
                </a:lnTo>
                <a:lnTo>
                  <a:pt x="468" y="207"/>
                </a:lnTo>
                <a:lnTo>
                  <a:pt x="468" y="191"/>
                </a:lnTo>
                <a:lnTo>
                  <a:pt x="451" y="191"/>
                </a:lnTo>
                <a:lnTo>
                  <a:pt x="468" y="159"/>
                </a:lnTo>
                <a:lnTo>
                  <a:pt x="486" y="111"/>
                </a:lnTo>
                <a:lnTo>
                  <a:pt x="503" y="96"/>
                </a:lnTo>
                <a:lnTo>
                  <a:pt x="520" y="63"/>
                </a:lnTo>
                <a:lnTo>
                  <a:pt x="503" y="63"/>
                </a:lnTo>
                <a:lnTo>
                  <a:pt x="503" y="30"/>
                </a:lnTo>
                <a:lnTo>
                  <a:pt x="486" y="15"/>
                </a:lnTo>
                <a:lnTo>
                  <a:pt x="434" y="15"/>
                </a:lnTo>
                <a:lnTo>
                  <a:pt x="417" y="0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Freeform 289"/>
          <p:cNvSpPr>
            <a:spLocks/>
          </p:cNvSpPr>
          <p:nvPr/>
        </p:nvSpPr>
        <p:spPr bwMode="auto">
          <a:xfrm>
            <a:off x="6072103" y="3715758"/>
            <a:ext cx="457449" cy="552888"/>
          </a:xfrm>
          <a:custGeom>
            <a:avLst/>
            <a:gdLst>
              <a:gd name="T0" fmla="*/ 6327 w 279"/>
              <a:gd name="T1" fmla="*/ 40481 h 336"/>
              <a:gd name="T2" fmla="*/ 6327 w 279"/>
              <a:gd name="T3" fmla="*/ 40481 h 336"/>
              <a:gd name="T4" fmla="*/ 0 w 279"/>
              <a:gd name="T5" fmla="*/ 47625 h 336"/>
              <a:gd name="T6" fmla="*/ 0 w 279"/>
              <a:gd name="T7" fmla="*/ 64294 h 336"/>
              <a:gd name="T8" fmla="*/ 3164 w 279"/>
              <a:gd name="T9" fmla="*/ 66675 h 336"/>
              <a:gd name="T10" fmla="*/ 13445 w 279"/>
              <a:gd name="T11" fmla="*/ 57150 h 336"/>
              <a:gd name="T12" fmla="*/ 27682 w 279"/>
              <a:gd name="T13" fmla="*/ 47625 h 336"/>
              <a:gd name="T14" fmla="*/ 37964 w 279"/>
              <a:gd name="T15" fmla="*/ 38100 h 336"/>
              <a:gd name="T16" fmla="*/ 44291 w 279"/>
              <a:gd name="T17" fmla="*/ 31750 h 336"/>
              <a:gd name="T18" fmla="*/ 54573 w 279"/>
              <a:gd name="T19" fmla="*/ 7144 h 336"/>
              <a:gd name="T20" fmla="*/ 54573 w 279"/>
              <a:gd name="T21" fmla="*/ 0 h 336"/>
              <a:gd name="T22" fmla="*/ 51409 w 279"/>
              <a:gd name="T23" fmla="*/ 0 h 336"/>
              <a:gd name="T24" fmla="*/ 44291 w 279"/>
              <a:gd name="T25" fmla="*/ 2381 h 336"/>
              <a:gd name="T26" fmla="*/ 20564 w 279"/>
              <a:gd name="T27" fmla="*/ 9525 h 336"/>
              <a:gd name="T28" fmla="*/ 16609 w 279"/>
              <a:gd name="T29" fmla="*/ 7144 h 336"/>
              <a:gd name="T30" fmla="*/ 13445 w 279"/>
              <a:gd name="T31" fmla="*/ 2381 h 336"/>
              <a:gd name="T32" fmla="*/ 10282 w 279"/>
              <a:gd name="T33" fmla="*/ 7144 h 336"/>
              <a:gd name="T34" fmla="*/ 10282 w 279"/>
              <a:gd name="T35" fmla="*/ 9525 h 336"/>
              <a:gd name="T36" fmla="*/ 16609 w 279"/>
              <a:gd name="T37" fmla="*/ 16669 h 336"/>
              <a:gd name="T38" fmla="*/ 34009 w 279"/>
              <a:gd name="T39" fmla="*/ 19050 h 336"/>
              <a:gd name="T40" fmla="*/ 37964 w 279"/>
              <a:gd name="T41" fmla="*/ 19050 h 336"/>
              <a:gd name="T42" fmla="*/ 23727 w 279"/>
              <a:gd name="T43" fmla="*/ 34925 h 336"/>
              <a:gd name="T44" fmla="*/ 13445 w 279"/>
              <a:gd name="T45" fmla="*/ 34925 h 336"/>
              <a:gd name="T46" fmla="*/ 6327 w 279"/>
              <a:gd name="T47" fmla="*/ 40481 h 3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79"/>
              <a:gd name="T73" fmla="*/ 0 h 336"/>
              <a:gd name="T74" fmla="*/ 279 w 279"/>
              <a:gd name="T75" fmla="*/ 336 h 3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79" h="336">
                <a:moveTo>
                  <a:pt x="35" y="207"/>
                </a:moveTo>
                <a:lnTo>
                  <a:pt x="35" y="207"/>
                </a:lnTo>
                <a:lnTo>
                  <a:pt x="0" y="240"/>
                </a:lnTo>
                <a:lnTo>
                  <a:pt x="0" y="321"/>
                </a:lnTo>
                <a:lnTo>
                  <a:pt x="18" y="336"/>
                </a:lnTo>
                <a:lnTo>
                  <a:pt x="69" y="288"/>
                </a:lnTo>
                <a:lnTo>
                  <a:pt x="141" y="240"/>
                </a:lnTo>
                <a:lnTo>
                  <a:pt x="192" y="192"/>
                </a:lnTo>
                <a:lnTo>
                  <a:pt x="227" y="159"/>
                </a:lnTo>
                <a:lnTo>
                  <a:pt x="279" y="33"/>
                </a:lnTo>
                <a:lnTo>
                  <a:pt x="279" y="0"/>
                </a:lnTo>
                <a:lnTo>
                  <a:pt x="261" y="0"/>
                </a:lnTo>
                <a:lnTo>
                  <a:pt x="227" y="15"/>
                </a:lnTo>
                <a:lnTo>
                  <a:pt x="104" y="48"/>
                </a:lnTo>
                <a:lnTo>
                  <a:pt x="87" y="33"/>
                </a:lnTo>
                <a:lnTo>
                  <a:pt x="69" y="15"/>
                </a:lnTo>
                <a:lnTo>
                  <a:pt x="52" y="33"/>
                </a:lnTo>
                <a:lnTo>
                  <a:pt x="52" y="48"/>
                </a:lnTo>
                <a:lnTo>
                  <a:pt x="87" y="81"/>
                </a:lnTo>
                <a:lnTo>
                  <a:pt x="175" y="96"/>
                </a:lnTo>
                <a:lnTo>
                  <a:pt x="192" y="96"/>
                </a:lnTo>
                <a:lnTo>
                  <a:pt x="121" y="177"/>
                </a:lnTo>
                <a:lnTo>
                  <a:pt x="69" y="177"/>
                </a:lnTo>
                <a:lnTo>
                  <a:pt x="35" y="207"/>
                </a:lnTo>
              </a:path>
            </a:pathLst>
          </a:custGeom>
          <a:solidFill>
            <a:srgbClr val="5BAD8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1828410" y="3099886"/>
            <a:ext cx="274320" cy="137160"/>
          </a:xfrm>
          <a:prstGeom prst="rect">
            <a:avLst/>
          </a:prstGeom>
          <a:solidFill>
            <a:srgbClr val="177B57"/>
          </a:solidFill>
          <a:ln w="9525" cap="flat" cmpd="sng" algn="ctr">
            <a:solidFill>
              <a:srgbClr val="177B57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2" name="TextBox 291"/>
          <p:cNvSpPr txBox="1"/>
          <p:nvPr/>
        </p:nvSpPr>
        <p:spPr>
          <a:xfrm>
            <a:off x="2097400" y="2995003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gt;1000 personnel</a:t>
            </a:r>
          </a:p>
        </p:txBody>
      </p:sp>
      <p:sp>
        <p:nvSpPr>
          <p:cNvPr id="293" name="Rectangle 292"/>
          <p:cNvSpPr/>
          <p:nvPr/>
        </p:nvSpPr>
        <p:spPr>
          <a:xfrm>
            <a:off x="1828410" y="3320378"/>
            <a:ext cx="274320" cy="137160"/>
          </a:xfrm>
          <a:prstGeom prst="rect">
            <a:avLst/>
          </a:pr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2101181" y="3215495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gt;100 personnel</a:t>
            </a:r>
          </a:p>
        </p:txBody>
      </p:sp>
      <p:sp>
        <p:nvSpPr>
          <p:cNvPr id="295" name="Rectangle 294"/>
          <p:cNvSpPr/>
          <p:nvPr/>
        </p:nvSpPr>
        <p:spPr>
          <a:xfrm>
            <a:off x="1828410" y="3544153"/>
            <a:ext cx="274320" cy="137160"/>
          </a:xfrm>
          <a:prstGeom prst="rect">
            <a:avLst/>
          </a:prstGeom>
          <a:solidFill>
            <a:srgbClr val="BCDEC2"/>
          </a:solidFill>
          <a:ln w="9525" cap="flat" cmpd="sng" algn="ctr">
            <a:solidFill>
              <a:srgbClr val="8EC6A1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2097400" y="3439270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gt;40 personnel</a:t>
            </a:r>
          </a:p>
        </p:txBody>
      </p:sp>
      <p:sp>
        <p:nvSpPr>
          <p:cNvPr id="297" name="Rectangle 296"/>
          <p:cNvSpPr/>
          <p:nvPr/>
        </p:nvSpPr>
        <p:spPr>
          <a:xfrm>
            <a:off x="1828410" y="3759025"/>
            <a:ext cx="274320" cy="137160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2102659" y="3654142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  <a:latin typeface="Arial"/>
              </a:rPr>
              <a:t>&gt;10</a:t>
            </a:r>
            <a:r>
              <a:rPr lang="en-US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ersonnel</a:t>
            </a:r>
          </a:p>
        </p:txBody>
      </p:sp>
      <p:sp>
        <p:nvSpPr>
          <p:cNvPr id="300" name="BCG_FootNote_Box"/>
          <p:cNvSpPr txBox="1">
            <a:spLocks noChangeArrowheads="1"/>
          </p:cNvSpPr>
          <p:nvPr/>
        </p:nvSpPr>
        <p:spPr bwMode="auto">
          <a:xfrm>
            <a:off x="1673624" y="6166121"/>
            <a:ext cx="868506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Philippines, Haiti also have between 1-10 polio funded personnel  but are not displayed; no headquarters staff displayed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GPEI partner HR databases, 2014</a:t>
            </a:r>
          </a:p>
        </p:txBody>
      </p:sp>
      <p:sp>
        <p:nvSpPr>
          <p:cNvPr id="301" name="Rectangle 300"/>
          <p:cNvSpPr/>
          <p:nvPr/>
        </p:nvSpPr>
        <p:spPr>
          <a:xfrm>
            <a:off x="1823079" y="3980433"/>
            <a:ext cx="274320" cy="137160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2097328" y="3866924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  <a:latin typeface="Arial"/>
              </a:rPr>
              <a:t>1+</a:t>
            </a:r>
            <a:r>
              <a:rPr lang="en-US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ersonnel</a:t>
            </a:r>
          </a:p>
        </p:txBody>
      </p:sp>
      <p:sp>
        <p:nvSpPr>
          <p:cNvPr id="303" name="Title 1"/>
          <p:cNvSpPr txBox="1">
            <a:spLocks/>
          </p:cNvSpPr>
          <p:nvPr/>
        </p:nvSpPr>
        <p:spPr>
          <a:xfrm>
            <a:off x="736601" y="-404044"/>
            <a:ext cx="9130020" cy="2407579"/>
          </a:xfrm>
          <a:prstGeom prst="rect">
            <a:avLst/>
          </a:prstGeom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685700" eaLnBrk="1" hangingPunct="1">
              <a:defRPr/>
            </a:pPr>
            <a:r>
              <a:rPr lang="en-US" sz="4000" b="1" dirty="0">
                <a:ln w="3175">
                  <a:noFill/>
                </a:ln>
                <a:solidFill>
                  <a:srgbClr val="C00000"/>
                </a:solidFill>
                <a:cs typeface="Arial" charset="0"/>
              </a:rPr>
              <a:t>GPEI presence in over 70 countries, but 95% of personnel </a:t>
            </a:r>
            <a:r>
              <a:rPr lang="en-US" sz="4000" b="1" dirty="0" smtClean="0">
                <a:ln w="3175">
                  <a:noFill/>
                </a:ln>
                <a:solidFill>
                  <a:srgbClr val="C00000"/>
                </a:solidFill>
                <a:cs typeface="Arial" charset="0"/>
              </a:rPr>
              <a:t>footprint in </a:t>
            </a:r>
            <a:r>
              <a:rPr lang="en-US" sz="4000" b="1" dirty="0">
                <a:ln w="3175">
                  <a:noFill/>
                </a:ln>
                <a:solidFill>
                  <a:srgbClr val="C00000"/>
                </a:solidFill>
                <a:cs typeface="Arial" charset="0"/>
              </a:rPr>
              <a:t>16 countries</a:t>
            </a:r>
          </a:p>
        </p:txBody>
      </p:sp>
      <p:sp>
        <p:nvSpPr>
          <p:cNvPr id="305" name="Rectangle 304"/>
          <p:cNvSpPr/>
          <p:nvPr/>
        </p:nvSpPr>
        <p:spPr>
          <a:xfrm>
            <a:off x="1771407" y="4399108"/>
            <a:ext cx="17217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25000"/>
              <a:defRPr/>
            </a:pPr>
            <a:r>
              <a:rPr lang="en-US" sz="1000" i="1" kern="0" dirty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rPr>
              <a:t>Includes social mobilizers. Does not include national government staff, vaccinators or regional/headquarters personnel.</a:t>
            </a:r>
          </a:p>
        </p:txBody>
      </p:sp>
      <p:sp>
        <p:nvSpPr>
          <p:cNvPr id="153" name="Footer Placeholder 1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Country-level Transition Planning | Transition Independent Monitoring Board</a:t>
            </a:r>
          </a:p>
        </p:txBody>
      </p:sp>
      <p:sp>
        <p:nvSpPr>
          <p:cNvPr id="195" name="Freeform 194"/>
          <p:cNvSpPr>
            <a:spLocks/>
          </p:cNvSpPr>
          <p:nvPr/>
        </p:nvSpPr>
        <p:spPr bwMode="auto">
          <a:xfrm>
            <a:off x="8385672" y="3004905"/>
            <a:ext cx="394920" cy="816167"/>
          </a:xfrm>
          <a:custGeom>
            <a:avLst/>
            <a:gdLst>
              <a:gd name="T0" fmla="*/ 34131 w 240"/>
              <a:gd name="T1" fmla="*/ 98624 h 495"/>
              <a:gd name="T2" fmla="*/ 34131 w 240"/>
              <a:gd name="T3" fmla="*/ 98624 h 495"/>
              <a:gd name="T4" fmla="*/ 41275 w 240"/>
              <a:gd name="T5" fmla="*/ 85898 h 495"/>
              <a:gd name="T6" fmla="*/ 38100 w 240"/>
              <a:gd name="T7" fmla="*/ 76354 h 495"/>
              <a:gd name="T8" fmla="*/ 34131 w 240"/>
              <a:gd name="T9" fmla="*/ 69991 h 495"/>
              <a:gd name="T10" fmla="*/ 34131 w 240"/>
              <a:gd name="T11" fmla="*/ 64424 h 495"/>
              <a:gd name="T12" fmla="*/ 30956 w 240"/>
              <a:gd name="T13" fmla="*/ 54879 h 495"/>
              <a:gd name="T14" fmla="*/ 30956 w 240"/>
              <a:gd name="T15" fmla="*/ 47721 h 495"/>
              <a:gd name="T16" fmla="*/ 44450 w 240"/>
              <a:gd name="T17" fmla="*/ 41358 h 495"/>
              <a:gd name="T18" fmla="*/ 47625 w 240"/>
              <a:gd name="T19" fmla="*/ 35791 h 495"/>
              <a:gd name="T20" fmla="*/ 44450 w 240"/>
              <a:gd name="T21" fmla="*/ 35791 h 495"/>
              <a:gd name="T22" fmla="*/ 38100 w 240"/>
              <a:gd name="T23" fmla="*/ 31814 h 495"/>
              <a:gd name="T24" fmla="*/ 38100 w 240"/>
              <a:gd name="T25" fmla="*/ 28633 h 495"/>
              <a:gd name="T26" fmla="*/ 38100 w 240"/>
              <a:gd name="T27" fmla="*/ 26247 h 495"/>
              <a:gd name="T28" fmla="*/ 34131 w 240"/>
              <a:gd name="T29" fmla="*/ 22270 h 495"/>
              <a:gd name="T30" fmla="*/ 30956 w 240"/>
              <a:gd name="T31" fmla="*/ 22270 h 495"/>
              <a:gd name="T32" fmla="*/ 34131 w 240"/>
              <a:gd name="T33" fmla="*/ 7158 h 495"/>
              <a:gd name="T34" fmla="*/ 30956 w 240"/>
              <a:gd name="T35" fmla="*/ 0 h 495"/>
              <a:gd name="T36" fmla="*/ 27781 w 240"/>
              <a:gd name="T37" fmla="*/ 0 h 495"/>
              <a:gd name="T38" fmla="*/ 27781 w 240"/>
              <a:gd name="T39" fmla="*/ 7158 h 495"/>
              <a:gd name="T40" fmla="*/ 20638 w 240"/>
              <a:gd name="T41" fmla="*/ 7158 h 495"/>
              <a:gd name="T42" fmla="*/ 17463 w 240"/>
              <a:gd name="T43" fmla="*/ 9544 h 495"/>
              <a:gd name="T44" fmla="*/ 10319 w 240"/>
              <a:gd name="T45" fmla="*/ 22270 h 495"/>
              <a:gd name="T46" fmla="*/ 7144 w 240"/>
              <a:gd name="T47" fmla="*/ 26247 h 495"/>
              <a:gd name="T48" fmla="*/ 3969 w 240"/>
              <a:gd name="T49" fmla="*/ 31814 h 495"/>
              <a:gd name="T50" fmla="*/ 3969 w 240"/>
              <a:gd name="T51" fmla="*/ 35791 h 495"/>
              <a:gd name="T52" fmla="*/ 0 w 240"/>
              <a:gd name="T53" fmla="*/ 38177 h 495"/>
              <a:gd name="T54" fmla="*/ 7144 w 240"/>
              <a:gd name="T55" fmla="*/ 45335 h 495"/>
              <a:gd name="T56" fmla="*/ 10319 w 240"/>
              <a:gd name="T57" fmla="*/ 50903 h 495"/>
              <a:gd name="T58" fmla="*/ 14288 w 240"/>
              <a:gd name="T59" fmla="*/ 60447 h 495"/>
              <a:gd name="T60" fmla="*/ 10319 w 240"/>
              <a:gd name="T61" fmla="*/ 64424 h 495"/>
              <a:gd name="T62" fmla="*/ 17463 w 240"/>
              <a:gd name="T63" fmla="*/ 66810 h 495"/>
              <a:gd name="T64" fmla="*/ 23813 w 240"/>
              <a:gd name="T65" fmla="*/ 60447 h 495"/>
              <a:gd name="T66" fmla="*/ 27781 w 240"/>
              <a:gd name="T67" fmla="*/ 64424 h 495"/>
              <a:gd name="T68" fmla="*/ 34131 w 240"/>
              <a:gd name="T69" fmla="*/ 83512 h 495"/>
              <a:gd name="T70" fmla="*/ 34131 w 240"/>
              <a:gd name="T71" fmla="*/ 98624 h 49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40"/>
              <a:gd name="T109" fmla="*/ 0 h 495"/>
              <a:gd name="T110" fmla="*/ 240 w 240"/>
              <a:gd name="T111" fmla="*/ 495 h 49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40" h="495">
                <a:moveTo>
                  <a:pt x="172" y="495"/>
                </a:moveTo>
                <a:lnTo>
                  <a:pt x="172" y="495"/>
                </a:lnTo>
                <a:lnTo>
                  <a:pt x="205" y="432"/>
                </a:lnTo>
                <a:lnTo>
                  <a:pt x="190" y="384"/>
                </a:lnTo>
                <a:lnTo>
                  <a:pt x="172" y="351"/>
                </a:lnTo>
                <a:lnTo>
                  <a:pt x="172" y="321"/>
                </a:lnTo>
                <a:lnTo>
                  <a:pt x="155" y="273"/>
                </a:lnTo>
                <a:lnTo>
                  <a:pt x="155" y="240"/>
                </a:lnTo>
                <a:lnTo>
                  <a:pt x="222" y="208"/>
                </a:lnTo>
                <a:lnTo>
                  <a:pt x="240" y="177"/>
                </a:lnTo>
                <a:lnTo>
                  <a:pt x="222" y="177"/>
                </a:lnTo>
                <a:lnTo>
                  <a:pt x="190" y="160"/>
                </a:lnTo>
                <a:lnTo>
                  <a:pt x="190" y="144"/>
                </a:lnTo>
                <a:lnTo>
                  <a:pt x="190" y="129"/>
                </a:lnTo>
                <a:lnTo>
                  <a:pt x="172" y="112"/>
                </a:lnTo>
                <a:lnTo>
                  <a:pt x="155" y="112"/>
                </a:lnTo>
                <a:lnTo>
                  <a:pt x="172" y="33"/>
                </a:lnTo>
                <a:lnTo>
                  <a:pt x="155" y="0"/>
                </a:lnTo>
                <a:lnTo>
                  <a:pt x="138" y="0"/>
                </a:lnTo>
                <a:lnTo>
                  <a:pt x="138" y="33"/>
                </a:lnTo>
                <a:lnTo>
                  <a:pt x="103" y="33"/>
                </a:lnTo>
                <a:lnTo>
                  <a:pt x="86" y="48"/>
                </a:lnTo>
                <a:lnTo>
                  <a:pt x="51" y="112"/>
                </a:lnTo>
                <a:lnTo>
                  <a:pt x="34" y="129"/>
                </a:lnTo>
                <a:lnTo>
                  <a:pt x="17" y="160"/>
                </a:lnTo>
                <a:lnTo>
                  <a:pt x="17" y="177"/>
                </a:lnTo>
                <a:lnTo>
                  <a:pt x="0" y="192"/>
                </a:lnTo>
                <a:lnTo>
                  <a:pt x="34" y="225"/>
                </a:lnTo>
                <a:lnTo>
                  <a:pt x="51" y="256"/>
                </a:lnTo>
                <a:lnTo>
                  <a:pt x="69" y="304"/>
                </a:lnTo>
                <a:lnTo>
                  <a:pt x="51" y="321"/>
                </a:lnTo>
                <a:lnTo>
                  <a:pt x="86" y="336"/>
                </a:lnTo>
                <a:lnTo>
                  <a:pt x="121" y="304"/>
                </a:lnTo>
                <a:lnTo>
                  <a:pt x="138" y="321"/>
                </a:lnTo>
                <a:lnTo>
                  <a:pt x="172" y="417"/>
                </a:lnTo>
                <a:lnTo>
                  <a:pt x="172" y="495"/>
                </a:lnTo>
                <a:close/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Freeform 156"/>
          <p:cNvSpPr>
            <a:spLocks/>
          </p:cNvSpPr>
          <p:nvPr/>
        </p:nvSpPr>
        <p:spPr bwMode="auto">
          <a:xfrm>
            <a:off x="10126611" y="4215991"/>
            <a:ext cx="450867" cy="368591"/>
          </a:xfrm>
          <a:custGeom>
            <a:avLst/>
            <a:gdLst>
              <a:gd name="T0" fmla="*/ 53779 w 275"/>
              <a:gd name="T1" fmla="*/ 12644 h 225"/>
              <a:gd name="T2" fmla="*/ 53779 w 275"/>
              <a:gd name="T3" fmla="*/ 12644 h 225"/>
              <a:gd name="T4" fmla="*/ 53779 w 275"/>
              <a:gd name="T5" fmla="*/ 25287 h 225"/>
              <a:gd name="T6" fmla="*/ 53779 w 275"/>
              <a:gd name="T7" fmla="*/ 44252 h 225"/>
              <a:gd name="T8" fmla="*/ 47452 w 275"/>
              <a:gd name="T9" fmla="*/ 37931 h 225"/>
              <a:gd name="T10" fmla="*/ 37171 w 275"/>
              <a:gd name="T11" fmla="*/ 41092 h 225"/>
              <a:gd name="T12" fmla="*/ 40334 w 275"/>
              <a:gd name="T13" fmla="*/ 34770 h 225"/>
              <a:gd name="T14" fmla="*/ 37171 w 275"/>
              <a:gd name="T15" fmla="*/ 28448 h 225"/>
              <a:gd name="T16" fmla="*/ 13445 w 275"/>
              <a:gd name="T17" fmla="*/ 15804 h 225"/>
              <a:gd name="T18" fmla="*/ 10281 w 275"/>
              <a:gd name="T19" fmla="*/ 18965 h 225"/>
              <a:gd name="T20" fmla="*/ 10281 w 275"/>
              <a:gd name="T21" fmla="*/ 15804 h 225"/>
              <a:gd name="T22" fmla="*/ 6327 w 275"/>
              <a:gd name="T23" fmla="*/ 12644 h 225"/>
              <a:gd name="T24" fmla="*/ 13445 w 275"/>
              <a:gd name="T25" fmla="*/ 12644 h 225"/>
              <a:gd name="T26" fmla="*/ 16608 w 275"/>
              <a:gd name="T27" fmla="*/ 9483 h 225"/>
              <a:gd name="T28" fmla="*/ 6327 w 275"/>
              <a:gd name="T29" fmla="*/ 9483 h 225"/>
              <a:gd name="T30" fmla="*/ 3163 w 275"/>
              <a:gd name="T31" fmla="*/ 6322 h 225"/>
              <a:gd name="T32" fmla="*/ 0 w 275"/>
              <a:gd name="T33" fmla="*/ 6322 h 225"/>
              <a:gd name="T34" fmla="*/ 6327 w 275"/>
              <a:gd name="T35" fmla="*/ 0 h 225"/>
              <a:gd name="T36" fmla="*/ 10281 w 275"/>
              <a:gd name="T37" fmla="*/ 0 h 225"/>
              <a:gd name="T38" fmla="*/ 16608 w 275"/>
              <a:gd name="T39" fmla="*/ 3161 h 225"/>
              <a:gd name="T40" fmla="*/ 16608 w 275"/>
              <a:gd name="T41" fmla="*/ 9483 h 225"/>
              <a:gd name="T42" fmla="*/ 22935 w 275"/>
              <a:gd name="T43" fmla="*/ 15804 h 225"/>
              <a:gd name="T44" fmla="*/ 30053 w 275"/>
              <a:gd name="T45" fmla="*/ 9483 h 225"/>
              <a:gd name="T46" fmla="*/ 37171 w 275"/>
              <a:gd name="T47" fmla="*/ 6322 h 225"/>
              <a:gd name="T48" fmla="*/ 53779 w 275"/>
              <a:gd name="T49" fmla="*/ 12644 h 22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75"/>
              <a:gd name="T76" fmla="*/ 0 h 225"/>
              <a:gd name="T77" fmla="*/ 275 w 275"/>
              <a:gd name="T78" fmla="*/ 225 h 225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75" h="225">
                <a:moveTo>
                  <a:pt x="275" y="65"/>
                </a:moveTo>
                <a:lnTo>
                  <a:pt x="275" y="65"/>
                </a:lnTo>
                <a:lnTo>
                  <a:pt x="275" y="129"/>
                </a:lnTo>
                <a:lnTo>
                  <a:pt x="275" y="225"/>
                </a:lnTo>
                <a:lnTo>
                  <a:pt x="240" y="192"/>
                </a:lnTo>
                <a:lnTo>
                  <a:pt x="189" y="209"/>
                </a:lnTo>
                <a:lnTo>
                  <a:pt x="206" y="177"/>
                </a:lnTo>
                <a:lnTo>
                  <a:pt x="189" y="144"/>
                </a:lnTo>
                <a:lnTo>
                  <a:pt x="68" y="81"/>
                </a:lnTo>
                <a:lnTo>
                  <a:pt x="52" y="96"/>
                </a:lnTo>
                <a:lnTo>
                  <a:pt x="52" y="81"/>
                </a:lnTo>
                <a:lnTo>
                  <a:pt x="35" y="65"/>
                </a:lnTo>
                <a:lnTo>
                  <a:pt x="68" y="65"/>
                </a:lnTo>
                <a:lnTo>
                  <a:pt x="85" y="48"/>
                </a:lnTo>
                <a:lnTo>
                  <a:pt x="35" y="48"/>
                </a:lnTo>
                <a:lnTo>
                  <a:pt x="18" y="33"/>
                </a:lnTo>
                <a:lnTo>
                  <a:pt x="0" y="33"/>
                </a:lnTo>
                <a:lnTo>
                  <a:pt x="35" y="0"/>
                </a:lnTo>
                <a:lnTo>
                  <a:pt x="52" y="0"/>
                </a:lnTo>
                <a:lnTo>
                  <a:pt x="85" y="18"/>
                </a:lnTo>
                <a:lnTo>
                  <a:pt x="85" y="48"/>
                </a:lnTo>
                <a:lnTo>
                  <a:pt x="119" y="81"/>
                </a:lnTo>
                <a:lnTo>
                  <a:pt x="154" y="48"/>
                </a:lnTo>
                <a:lnTo>
                  <a:pt x="189" y="33"/>
                </a:lnTo>
                <a:lnTo>
                  <a:pt x="275" y="65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5BAD82"/>
              </a:solidFill>
              <a:latin typeface="Arial"/>
            </a:endParaRPr>
          </a:p>
        </p:txBody>
      </p:sp>
      <p:sp>
        <p:nvSpPr>
          <p:cNvPr id="287" name="Freeform 287b"/>
          <p:cNvSpPr>
            <a:spLocks/>
          </p:cNvSpPr>
          <p:nvPr/>
        </p:nvSpPr>
        <p:spPr bwMode="auto">
          <a:xfrm>
            <a:off x="5304087" y="3700304"/>
            <a:ext cx="546729" cy="357716"/>
          </a:xfrm>
          <a:custGeom>
            <a:avLst/>
            <a:gdLst/>
            <a:ahLst/>
            <a:cxnLst>
              <a:cxn ang="0">
                <a:pos x="248" y="137"/>
              </a:cxn>
              <a:cxn ang="0">
                <a:pos x="220" y="99"/>
              </a:cxn>
              <a:cxn ang="0">
                <a:pos x="205" y="85"/>
              </a:cxn>
              <a:cxn ang="0">
                <a:pos x="217" y="75"/>
              </a:cxn>
              <a:cxn ang="0">
                <a:pos x="220" y="73"/>
              </a:cxn>
              <a:cxn ang="0">
                <a:pos x="231" y="40"/>
              </a:cxn>
              <a:cxn ang="0">
                <a:pos x="213" y="28"/>
              </a:cxn>
              <a:cxn ang="0">
                <a:pos x="213" y="0"/>
              </a:cxn>
              <a:cxn ang="0">
                <a:pos x="187" y="4"/>
              </a:cxn>
              <a:cxn ang="0">
                <a:pos x="189" y="35"/>
              </a:cxn>
              <a:cxn ang="0">
                <a:pos x="170" y="56"/>
              </a:cxn>
              <a:cxn ang="0">
                <a:pos x="139" y="44"/>
              </a:cxn>
              <a:cxn ang="0">
                <a:pos x="99" y="61"/>
              </a:cxn>
              <a:cxn ang="0">
                <a:pos x="73" y="59"/>
              </a:cxn>
              <a:cxn ang="0">
                <a:pos x="52" y="37"/>
              </a:cxn>
              <a:cxn ang="0">
                <a:pos x="38" y="40"/>
              </a:cxn>
              <a:cxn ang="0">
                <a:pos x="28" y="54"/>
              </a:cxn>
              <a:cxn ang="0">
                <a:pos x="12" y="73"/>
              </a:cxn>
              <a:cxn ang="0">
                <a:pos x="0" y="73"/>
              </a:cxn>
              <a:cxn ang="0">
                <a:pos x="5" y="75"/>
              </a:cxn>
              <a:cxn ang="0">
                <a:pos x="28" y="85"/>
              </a:cxn>
              <a:cxn ang="0">
                <a:pos x="83" y="151"/>
              </a:cxn>
              <a:cxn ang="0">
                <a:pos x="97" y="163"/>
              </a:cxn>
              <a:cxn ang="0">
                <a:pos x="137" y="163"/>
              </a:cxn>
              <a:cxn ang="0">
                <a:pos x="151" y="174"/>
              </a:cxn>
              <a:cxn ang="0">
                <a:pos x="179" y="174"/>
              </a:cxn>
              <a:cxn ang="0">
                <a:pos x="220" y="163"/>
              </a:cxn>
              <a:cxn ang="0">
                <a:pos x="234" y="163"/>
              </a:cxn>
              <a:cxn ang="0">
                <a:pos x="262" y="163"/>
              </a:cxn>
              <a:cxn ang="0">
                <a:pos x="262" y="137"/>
              </a:cxn>
              <a:cxn ang="0">
                <a:pos x="248" y="137"/>
              </a:cxn>
            </a:cxnLst>
            <a:rect l="0" t="0" r="r" b="b"/>
            <a:pathLst>
              <a:path w="262" h="174">
                <a:moveTo>
                  <a:pt x="248" y="137"/>
                </a:moveTo>
                <a:lnTo>
                  <a:pt x="220" y="99"/>
                </a:lnTo>
                <a:lnTo>
                  <a:pt x="205" y="85"/>
                </a:lnTo>
                <a:lnTo>
                  <a:pt x="217" y="75"/>
                </a:lnTo>
                <a:lnTo>
                  <a:pt x="220" y="73"/>
                </a:lnTo>
                <a:lnTo>
                  <a:pt x="231" y="40"/>
                </a:lnTo>
                <a:lnTo>
                  <a:pt x="213" y="28"/>
                </a:lnTo>
                <a:lnTo>
                  <a:pt x="213" y="0"/>
                </a:lnTo>
                <a:lnTo>
                  <a:pt x="187" y="4"/>
                </a:lnTo>
                <a:lnTo>
                  <a:pt x="189" y="35"/>
                </a:lnTo>
                <a:lnTo>
                  <a:pt x="170" y="56"/>
                </a:lnTo>
                <a:lnTo>
                  <a:pt x="139" y="44"/>
                </a:lnTo>
                <a:lnTo>
                  <a:pt x="99" y="61"/>
                </a:lnTo>
                <a:lnTo>
                  <a:pt x="73" y="59"/>
                </a:lnTo>
                <a:lnTo>
                  <a:pt x="52" y="37"/>
                </a:lnTo>
                <a:lnTo>
                  <a:pt x="38" y="40"/>
                </a:lnTo>
                <a:lnTo>
                  <a:pt x="28" y="54"/>
                </a:lnTo>
                <a:lnTo>
                  <a:pt x="12" y="73"/>
                </a:lnTo>
                <a:lnTo>
                  <a:pt x="0" y="73"/>
                </a:lnTo>
                <a:lnTo>
                  <a:pt x="5" y="75"/>
                </a:lnTo>
                <a:lnTo>
                  <a:pt x="28" y="85"/>
                </a:lnTo>
                <a:lnTo>
                  <a:pt x="83" y="151"/>
                </a:lnTo>
                <a:lnTo>
                  <a:pt x="97" y="163"/>
                </a:lnTo>
                <a:lnTo>
                  <a:pt x="137" y="163"/>
                </a:lnTo>
                <a:lnTo>
                  <a:pt x="151" y="174"/>
                </a:lnTo>
                <a:lnTo>
                  <a:pt x="179" y="174"/>
                </a:lnTo>
                <a:lnTo>
                  <a:pt x="220" y="163"/>
                </a:lnTo>
                <a:lnTo>
                  <a:pt x="234" y="163"/>
                </a:lnTo>
                <a:lnTo>
                  <a:pt x="262" y="163"/>
                </a:lnTo>
                <a:lnTo>
                  <a:pt x="262" y="137"/>
                </a:lnTo>
                <a:lnTo>
                  <a:pt x="248" y="137"/>
                </a:lnTo>
                <a:close/>
              </a:path>
            </a:pathLst>
          </a:custGeom>
          <a:solidFill>
            <a:srgbClr val="5BAD8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5" name="Freeform 288"/>
          <p:cNvSpPr>
            <a:spLocks/>
          </p:cNvSpPr>
          <p:nvPr/>
        </p:nvSpPr>
        <p:spPr bwMode="auto">
          <a:xfrm>
            <a:off x="4617483" y="3663103"/>
            <a:ext cx="345556" cy="473903"/>
          </a:xfrm>
          <a:custGeom>
            <a:avLst/>
            <a:gdLst>
              <a:gd name="T0" fmla="*/ 0 w 212"/>
              <a:gd name="T1" fmla="*/ 41275 h 288"/>
              <a:gd name="T2" fmla="*/ 0 w 212"/>
              <a:gd name="T3" fmla="*/ 41275 h 288"/>
              <a:gd name="T4" fmla="*/ 6290 w 212"/>
              <a:gd name="T5" fmla="*/ 31750 h 288"/>
              <a:gd name="T6" fmla="*/ 10221 w 212"/>
              <a:gd name="T7" fmla="*/ 31750 h 288"/>
              <a:gd name="T8" fmla="*/ 13366 w 212"/>
              <a:gd name="T9" fmla="*/ 34925 h 288"/>
              <a:gd name="T10" fmla="*/ 17298 w 212"/>
              <a:gd name="T11" fmla="*/ 31750 h 288"/>
              <a:gd name="T12" fmla="*/ 23588 w 212"/>
              <a:gd name="T13" fmla="*/ 22225 h 288"/>
              <a:gd name="T14" fmla="*/ 27519 w 212"/>
              <a:gd name="T15" fmla="*/ 13494 h 288"/>
              <a:gd name="T16" fmla="*/ 30664 w 212"/>
              <a:gd name="T17" fmla="*/ 7144 h 288"/>
              <a:gd name="T18" fmla="*/ 30664 w 212"/>
              <a:gd name="T19" fmla="*/ 3969 h 288"/>
              <a:gd name="T20" fmla="*/ 30664 w 212"/>
              <a:gd name="T21" fmla="*/ 0 h 288"/>
              <a:gd name="T22" fmla="*/ 30664 w 212"/>
              <a:gd name="T23" fmla="*/ 3969 h 288"/>
              <a:gd name="T24" fmla="*/ 37741 w 212"/>
              <a:gd name="T25" fmla="*/ 15875 h 288"/>
              <a:gd name="T26" fmla="*/ 30664 w 212"/>
              <a:gd name="T27" fmla="*/ 15875 h 288"/>
              <a:gd name="T28" fmla="*/ 30664 w 212"/>
              <a:gd name="T29" fmla="*/ 19050 h 288"/>
              <a:gd name="T30" fmla="*/ 34596 w 212"/>
              <a:gd name="T31" fmla="*/ 22225 h 288"/>
              <a:gd name="T32" fmla="*/ 37741 w 212"/>
              <a:gd name="T33" fmla="*/ 28575 h 288"/>
              <a:gd name="T34" fmla="*/ 30664 w 212"/>
              <a:gd name="T35" fmla="*/ 38100 h 288"/>
              <a:gd name="T36" fmla="*/ 34596 w 212"/>
              <a:gd name="T37" fmla="*/ 41275 h 288"/>
              <a:gd name="T38" fmla="*/ 40886 w 212"/>
              <a:gd name="T39" fmla="*/ 51594 h 288"/>
              <a:gd name="T40" fmla="*/ 40886 w 212"/>
              <a:gd name="T41" fmla="*/ 57150 h 288"/>
              <a:gd name="T42" fmla="*/ 23588 w 212"/>
              <a:gd name="T43" fmla="*/ 54769 h 288"/>
              <a:gd name="T44" fmla="*/ 13366 w 212"/>
              <a:gd name="T45" fmla="*/ 54769 h 288"/>
              <a:gd name="T46" fmla="*/ 6290 w 212"/>
              <a:gd name="T47" fmla="*/ 54769 h 288"/>
              <a:gd name="T48" fmla="*/ 6290 w 212"/>
              <a:gd name="T49" fmla="*/ 51594 h 288"/>
              <a:gd name="T50" fmla="*/ 3145 w 212"/>
              <a:gd name="T51" fmla="*/ 47625 h 288"/>
              <a:gd name="T52" fmla="*/ 0 w 212"/>
              <a:gd name="T53" fmla="*/ 44450 h 288"/>
              <a:gd name="T54" fmla="*/ 0 w 212"/>
              <a:gd name="T55" fmla="*/ 41275 h 28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12"/>
              <a:gd name="T85" fmla="*/ 0 h 288"/>
              <a:gd name="T86" fmla="*/ 212 w 212"/>
              <a:gd name="T87" fmla="*/ 288 h 28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12" h="288">
                <a:moveTo>
                  <a:pt x="0" y="210"/>
                </a:moveTo>
                <a:lnTo>
                  <a:pt x="0" y="210"/>
                </a:lnTo>
                <a:lnTo>
                  <a:pt x="35" y="162"/>
                </a:lnTo>
                <a:lnTo>
                  <a:pt x="52" y="162"/>
                </a:lnTo>
                <a:lnTo>
                  <a:pt x="69" y="177"/>
                </a:lnTo>
                <a:lnTo>
                  <a:pt x="89" y="162"/>
                </a:lnTo>
                <a:lnTo>
                  <a:pt x="123" y="114"/>
                </a:lnTo>
                <a:lnTo>
                  <a:pt x="141" y="66"/>
                </a:lnTo>
                <a:lnTo>
                  <a:pt x="158" y="33"/>
                </a:lnTo>
                <a:lnTo>
                  <a:pt x="158" y="18"/>
                </a:lnTo>
                <a:lnTo>
                  <a:pt x="158" y="0"/>
                </a:lnTo>
                <a:lnTo>
                  <a:pt x="158" y="18"/>
                </a:lnTo>
                <a:lnTo>
                  <a:pt x="194" y="81"/>
                </a:lnTo>
                <a:lnTo>
                  <a:pt x="158" y="81"/>
                </a:lnTo>
                <a:lnTo>
                  <a:pt x="158" y="96"/>
                </a:lnTo>
                <a:lnTo>
                  <a:pt x="177" y="114"/>
                </a:lnTo>
                <a:lnTo>
                  <a:pt x="194" y="144"/>
                </a:lnTo>
                <a:lnTo>
                  <a:pt x="158" y="192"/>
                </a:lnTo>
                <a:lnTo>
                  <a:pt x="177" y="210"/>
                </a:lnTo>
                <a:lnTo>
                  <a:pt x="212" y="258"/>
                </a:lnTo>
                <a:lnTo>
                  <a:pt x="212" y="288"/>
                </a:lnTo>
                <a:lnTo>
                  <a:pt x="123" y="273"/>
                </a:lnTo>
                <a:lnTo>
                  <a:pt x="69" y="273"/>
                </a:lnTo>
                <a:lnTo>
                  <a:pt x="35" y="273"/>
                </a:lnTo>
                <a:lnTo>
                  <a:pt x="35" y="258"/>
                </a:lnTo>
                <a:lnTo>
                  <a:pt x="18" y="240"/>
                </a:lnTo>
                <a:lnTo>
                  <a:pt x="0" y="225"/>
                </a:lnTo>
                <a:lnTo>
                  <a:pt x="0" y="210"/>
                </a:lnTo>
                <a:close/>
              </a:path>
            </a:pathLst>
          </a:custGeom>
          <a:solidFill>
            <a:srgbClr val="BCDEC2"/>
          </a:solidFill>
          <a:ln w="1905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488" y="3258297"/>
            <a:ext cx="2591025" cy="341406"/>
          </a:xfrm>
          <a:prstGeom prst="rect">
            <a:avLst/>
          </a:prstGeom>
        </p:spPr>
      </p:pic>
      <p:sp>
        <p:nvSpPr>
          <p:cNvPr id="154" name="Rectangle 153"/>
          <p:cNvSpPr/>
          <p:nvPr/>
        </p:nvSpPr>
        <p:spPr>
          <a:xfrm>
            <a:off x="1838999" y="4213824"/>
            <a:ext cx="274320" cy="13716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algn="ctr"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9" name="TextBox 298"/>
          <p:cNvSpPr txBox="1"/>
          <p:nvPr/>
        </p:nvSpPr>
        <p:spPr>
          <a:xfrm>
            <a:off x="2099090" y="4128574"/>
            <a:ext cx="1625601" cy="35103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defRPr/>
            </a:pPr>
            <a:r>
              <a:rPr lang="en-US" sz="1100" kern="0" dirty="0" smtClean="0">
                <a:solidFill>
                  <a:srgbClr val="000000"/>
                </a:solidFill>
                <a:latin typeface="Arial"/>
              </a:rPr>
              <a:t>M&amp;RI – 6 </a:t>
            </a:r>
            <a:r>
              <a:rPr lang="en-US" sz="1100" kern="0" dirty="0" err="1" smtClean="0">
                <a:solidFill>
                  <a:srgbClr val="000000"/>
                </a:solidFill>
                <a:latin typeface="Arial"/>
              </a:rPr>
              <a:t>Gavi</a:t>
            </a:r>
            <a:r>
              <a:rPr lang="en-US" sz="1100" kern="0" dirty="0" smtClean="0">
                <a:solidFill>
                  <a:srgbClr val="000000"/>
                </a:solidFill>
                <a:latin typeface="Arial"/>
              </a:rPr>
              <a:t> priority</a:t>
            </a:r>
            <a:endParaRPr lang="en-US" sz="11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714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576" y="548680"/>
            <a:ext cx="7886700" cy="994172"/>
          </a:xfrm>
        </p:spPr>
        <p:txBody>
          <a:bodyPr/>
          <a:lstStyle/>
          <a:p>
            <a:pPr defTabSz="685700" eaLnBrk="1" hangingPunct="1"/>
            <a:r>
              <a:rPr lang="en-US" sz="4000" b="1" dirty="0">
                <a:ln w="3175">
                  <a:noFill/>
                </a:ln>
                <a:solidFill>
                  <a:srgbClr val="C00000"/>
                </a:solidFill>
                <a:ea typeface="+mn-ea"/>
                <a:cs typeface="Arial" charset="0"/>
              </a:rPr>
              <a:t>Characteristics of the 16 Priority</a:t>
            </a:r>
            <a:br>
              <a:rPr lang="en-US" sz="4000" b="1" dirty="0">
                <a:ln w="3175">
                  <a:noFill/>
                </a:ln>
                <a:solidFill>
                  <a:srgbClr val="C00000"/>
                </a:solidFill>
                <a:ea typeface="+mn-ea"/>
                <a:cs typeface="Arial" charset="0"/>
              </a:rPr>
            </a:br>
            <a:r>
              <a:rPr lang="en-US" sz="4000" b="1" dirty="0">
                <a:ln w="3175">
                  <a:noFill/>
                </a:ln>
                <a:solidFill>
                  <a:srgbClr val="C00000"/>
                </a:solidFill>
                <a:ea typeface="+mn-ea"/>
                <a:cs typeface="Arial" charset="0"/>
              </a:rPr>
              <a:t>“Polio Transition” Count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2048933"/>
            <a:ext cx="11548533" cy="3110591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st of the world’s unvaccinated and under-vaccinated children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3% of 20.8 million infants who did not receive measles vaccine in 2015 are in the Big 6 priority measles countries)</a:t>
            </a:r>
          </a:p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st of the world’s measles cases and deaths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8% of deaths)</a:t>
            </a:r>
          </a:p>
          <a:p>
            <a:pPr lvl="0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st of the world’s rubella and congenital rubella syndrom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,000 CRS cases)</a:t>
            </a:r>
            <a:endParaRPr lang="en-US" sz="2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ences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losing polio assets – risk that EPI progress in these countries and globally will be </a:t>
            </a:r>
            <a:r>
              <a:rPr 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rsed !!</a:t>
            </a:r>
            <a:endParaRPr lang="en-US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6088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84822" y="3155252"/>
            <a:ext cx="4025750" cy="191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0" y="2655954"/>
            <a:ext cx="4084574" cy="3521564"/>
          </a:xfrm>
        </p:spPr>
        <p:txBody>
          <a:bodyPr/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86% of WHO immunization personnel in Africa are polio-funded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40% of WHO AFRO’s workforce is polio-funded</a:t>
            </a:r>
          </a:p>
        </p:txBody>
      </p:sp>
      <p:sp>
        <p:nvSpPr>
          <p:cNvPr id="22" name="ColumnHeader"/>
          <p:cNvSpPr>
            <a:spLocks noChangeArrowheads="1"/>
          </p:cNvSpPr>
          <p:nvPr/>
        </p:nvSpPr>
        <p:spPr bwMode="gray">
          <a:xfrm>
            <a:off x="6023058" y="2128854"/>
            <a:ext cx="4087514" cy="80021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xample: Polio funds 70% o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WHO staff in DR Congo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1</a:t>
            </a:r>
          </a:p>
        </p:txBody>
      </p:sp>
      <p:cxnSp>
        <p:nvCxnSpPr>
          <p:cNvPr id="23" name="Straight Connector 22"/>
          <p:cNvCxnSpPr/>
          <p:nvPr/>
        </p:nvCxnSpPr>
        <p:spPr bwMode="gray">
          <a:xfrm>
            <a:off x="7234813" y="3768024"/>
            <a:ext cx="4857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 bwMode="gray">
          <a:xfrm>
            <a:off x="8492323" y="3271291"/>
            <a:ext cx="4857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2"/>
          <p:cNvSpPr>
            <a:spLocks noGrp="1"/>
          </p:cNvSpPr>
          <p:nvPr/>
        </p:nvSpPr>
        <p:spPr bwMode="gray">
          <a:xfrm>
            <a:off x="5702235" y="4669725"/>
            <a:ext cx="623886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C64DBE-AF6A-4525-9864-643E5670035F}" type="datetime'K''''''''i''''ns''''''''''''h''''as''''''''''''a''''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Kinshasa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27" name="Text Placeholder 11"/>
          <p:cNvSpPr>
            <a:spLocks noGrp="1"/>
          </p:cNvSpPr>
          <p:nvPr/>
        </p:nvSpPr>
        <p:spPr bwMode="gray">
          <a:xfrm>
            <a:off x="5659375" y="4079175"/>
            <a:ext cx="666751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0F7855-B93C-4A1C-A895-41D0C1C10523}" type="datetime'''''''''P''''r''o''''''''''''''''v''''in''''''''''''c''es''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vinces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28" name="Text Placeholder 24"/>
          <p:cNvSpPr>
            <a:spLocks noGrp="1"/>
          </p:cNvSpPr>
          <p:nvPr/>
        </p:nvSpPr>
        <p:spPr bwMode="gray">
          <a:xfrm>
            <a:off x="8937909" y="5057726"/>
            <a:ext cx="787400" cy="182562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staff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29" name="Text Placeholder 38"/>
          <p:cNvSpPr>
            <a:spLocks noGrp="1"/>
          </p:cNvSpPr>
          <p:nvPr/>
        </p:nvSpPr>
        <p:spPr bwMode="gray">
          <a:xfrm>
            <a:off x="9175243" y="3073437"/>
            <a:ext cx="312737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200AF1-60AA-4A8D-8FDB-341837CEFF4D}" type="datetime'''''12''''''''''''''''''''''''''''''''''''''6''''''''''''''''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0" name="Text Placeholder 23"/>
          <p:cNvSpPr>
            <a:spLocks noGrp="1"/>
          </p:cNvSpPr>
          <p:nvPr/>
        </p:nvSpPr>
        <p:spPr bwMode="gray">
          <a:xfrm>
            <a:off x="7882891" y="5061245"/>
            <a:ext cx="419100" cy="182562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001235-0746-4640-AB67-8B87D69D46A2}" type="datetime'''O''''''''''''''''''t''''''''''''''''h''''''e''''r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ther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2" name="Text Placeholder 37"/>
          <p:cNvSpPr>
            <a:spLocks noGrp="1"/>
          </p:cNvSpPr>
          <p:nvPr/>
        </p:nvSpPr>
        <p:spPr bwMode="gray">
          <a:xfrm>
            <a:off x="7978141" y="3034925"/>
            <a:ext cx="228600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82B2EFA-5979-436A-AB5E-B5A6A51B617A}" type="datetime'''''''3''''''''''''''''''''''''''''''''''''''''''''''''''''8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3" name="Text Placeholder 7"/>
          <p:cNvSpPr>
            <a:spLocks noGrp="1"/>
          </p:cNvSpPr>
          <p:nvPr/>
        </p:nvSpPr>
        <p:spPr bwMode="gray">
          <a:xfrm>
            <a:off x="8021003" y="3217487"/>
            <a:ext cx="144462" cy="182562"/>
          </a:xfrm>
          <a:prstGeom prst="rect">
            <a:avLst/>
          </a:prstGeom>
          <a:solidFill>
            <a:srgbClr val="E7D475"/>
          </a:solidFill>
          <a:effectLst/>
        </p:spPr>
        <p:txBody>
          <a:bodyPr wrap="none" lIns="30162" tIns="0" rIns="30162" bIns="0" numCol="1" spc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710452-B20B-4DE1-BEC2-EA0A1FBB3FE8}" type="datetime'''''''3''''''''''''''''''''''''''''''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4" name="Text Placeholder 22"/>
          <p:cNvSpPr>
            <a:spLocks noGrp="1"/>
          </p:cNvSpPr>
          <p:nvPr/>
        </p:nvSpPr>
        <p:spPr bwMode="gray">
          <a:xfrm>
            <a:off x="6287995" y="5081913"/>
            <a:ext cx="1066800" cy="36512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2C8F59-F9BC-429D-82A6-269B85AF97D7}" type="datetime'#'' p''''''''olio-f''''''u''n''''de''''d per''son''''n''e''l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# polio-funded personnel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5" name="Text Placeholder 36"/>
          <p:cNvSpPr>
            <a:spLocks noGrp="1"/>
          </p:cNvSpPr>
          <p:nvPr/>
        </p:nvSpPr>
        <p:spPr bwMode="gray">
          <a:xfrm>
            <a:off x="6746809" y="3582081"/>
            <a:ext cx="228600" cy="185945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23F001-4758-4339-9592-A96DCC0E394A}" type="datetime'''8''''''''''''''''''''''''''''''''''''8'''''''''''''''''''''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6" name="BCG_FootNote_Box"/>
          <p:cNvSpPr txBox="1">
            <a:spLocks noChangeArrowheads="1"/>
          </p:cNvSpPr>
          <p:nvPr/>
        </p:nvSpPr>
        <p:spPr bwMode="auto">
          <a:xfrm>
            <a:off x="6438078" y="5611784"/>
            <a:ext cx="3389950" cy="8134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1. 2013 DRC FRR data; excluding consultants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Source: GPEI FRR, WHO, UNICEF, BCG analysis 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736600" y="36617"/>
            <a:ext cx="9091428" cy="1082528"/>
          </a:xfr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lio funding plays a significant role in overall partner capacity in many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gions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nd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untri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1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346938" y="6604000"/>
            <a:ext cx="6812574" cy="25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Country-level Transition Planning | Transition Independent Monitoring Board</a:t>
            </a:r>
          </a:p>
        </p:txBody>
      </p:sp>
    </p:spTree>
    <p:extLst>
      <p:ext uri="{BB962C8B-B14F-4D97-AF65-F5344CB8AC3E}">
        <p14:creationId xmlns:p14="http://schemas.microsoft.com/office/powerpoint/2010/main" val="26552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172416"/>
            <a:ext cx="10515600" cy="951777"/>
          </a:xfrm>
        </p:spPr>
        <p:txBody>
          <a:bodyPr/>
          <a:lstStyle/>
          <a:p>
            <a: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It Makes Sense to Pivot from </a:t>
            </a:r>
            <a:b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o Eradication to Measles-Rubella Elimin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0515" y="1320705"/>
            <a:ext cx="10515600" cy="4351339"/>
          </a:xfrm>
        </p:spPr>
        <p:txBody>
          <a:bodyPr/>
          <a:lstStyle/>
          <a:p>
            <a:pPr marL="609585" indent="-609585">
              <a:buFont typeface="+mj-lt"/>
              <a:buAutoNum type="arabicPeriod"/>
            </a:pPr>
            <a:r>
              <a:rPr lang="en-US" sz="2667" dirty="0"/>
              <a:t>Strategies are similar</a:t>
            </a:r>
          </a:p>
          <a:p>
            <a:pPr lvl="1"/>
            <a:r>
              <a:rPr lang="en-US" sz="2133" dirty="0"/>
              <a:t>Surveillance and lab network</a:t>
            </a:r>
          </a:p>
          <a:p>
            <a:pPr lvl="1"/>
            <a:r>
              <a:rPr lang="en-US" sz="2133" dirty="0"/>
              <a:t>Outbreak preparedness and response</a:t>
            </a:r>
          </a:p>
          <a:p>
            <a:pPr lvl="1"/>
            <a:r>
              <a:rPr lang="en-US" sz="2133" dirty="0"/>
              <a:t>Importance of achieving/maintaining high routine coverage</a:t>
            </a:r>
          </a:p>
          <a:p>
            <a:pPr lvl="1"/>
            <a:r>
              <a:rPr lang="en-US" sz="2133" dirty="0"/>
              <a:t>Need for periodic SIAs to reach inaccessible children</a:t>
            </a:r>
          </a:p>
          <a:p>
            <a:pPr lvl="1"/>
            <a:r>
              <a:rPr lang="en-US" sz="2133" dirty="0"/>
              <a:t>Use of communications/social mobilization network</a:t>
            </a:r>
          </a:p>
          <a:p>
            <a:pPr marL="609585" indent="-609585">
              <a:buFont typeface="+mj-lt"/>
              <a:buAutoNum type="arabicPeriod"/>
            </a:pPr>
            <a:r>
              <a:rPr lang="en-US" sz="2667" dirty="0"/>
              <a:t>Polio infrastructure concentrated in the lowest-performing countries with highest measles-rubella disease burden</a:t>
            </a:r>
          </a:p>
          <a:p>
            <a:pPr marL="609585" indent="-609585">
              <a:buFont typeface="+mj-lt"/>
              <a:buAutoNum type="arabicPeriod"/>
            </a:pPr>
            <a:r>
              <a:rPr lang="en-US" sz="2667" dirty="0"/>
              <a:t>Polio and measles-rubella already working together and interconnected including human resources</a:t>
            </a:r>
          </a:p>
          <a:p>
            <a:pPr marL="609585" indent="-609585">
              <a:buFont typeface="+mj-lt"/>
              <a:buAutoNum type="arabicPeriod"/>
            </a:pPr>
            <a:r>
              <a:rPr lang="en-US" sz="2667" dirty="0"/>
              <a:t>Measles still major cause of &lt;5 child deaths</a:t>
            </a:r>
          </a:p>
          <a:p>
            <a:pPr marL="609585" indent="-609585">
              <a:buFont typeface="+mj-lt"/>
              <a:buAutoNum type="arabicPeriod"/>
            </a:pPr>
            <a:r>
              <a:rPr lang="en-US" sz="2667" dirty="0"/>
              <a:t>Rubella is the leading infectious cause of birth defects </a:t>
            </a:r>
          </a:p>
          <a:p>
            <a:pPr marL="609585" indent="-609585">
              <a:buFont typeface="+mj-lt"/>
              <a:buAutoNum type="arabicPeriod"/>
            </a:pPr>
            <a:endParaRPr lang="en-US" sz="2667" dirty="0"/>
          </a:p>
          <a:p>
            <a:pPr marL="609585" indent="-609585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4560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cGO2jYcECSKKH4lFf5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4</TotalTime>
  <Words>882</Words>
  <Application>Microsoft Office PowerPoint</Application>
  <PresentationFormat>Widescreen</PresentationFormat>
  <Paragraphs>142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Gulim</vt:lpstr>
      <vt:lpstr>Arial</vt:lpstr>
      <vt:lpstr>Arial Narrow</vt:lpstr>
      <vt:lpstr>Calibri</vt:lpstr>
      <vt:lpstr>Calibri Light</vt:lpstr>
      <vt:lpstr>Wingdings</vt:lpstr>
      <vt:lpstr>2_Office Theme</vt:lpstr>
      <vt:lpstr>7_Office Theme</vt:lpstr>
      <vt:lpstr>16_Office Theme</vt:lpstr>
      <vt:lpstr>5_master</vt:lpstr>
      <vt:lpstr>3_Office Theme</vt:lpstr>
      <vt:lpstr>master</vt:lpstr>
      <vt:lpstr>1_master</vt:lpstr>
      <vt:lpstr>6_Office Theme</vt:lpstr>
      <vt:lpstr>17_Office Theme</vt:lpstr>
      <vt:lpstr>Office Theme</vt:lpstr>
      <vt:lpstr>18_Office Theme</vt:lpstr>
      <vt:lpstr>think-cell Slide</vt:lpstr>
      <vt:lpstr>Polio Transition Planning:   Risks and opportunities of transitioning polio resources to support Measles-Rubella Elimination </vt:lpstr>
      <vt:lpstr>Underlying premise: Transition to other health goals risk -- and opportunity  </vt:lpstr>
      <vt:lpstr>Measles &amp; Rubella Global Strategic Plan Midterm Review (2016)</vt:lpstr>
      <vt:lpstr>Most Obvious Candidates for  Transitioning of Polio Assets*</vt:lpstr>
      <vt:lpstr>PowerPoint Presentation</vt:lpstr>
      <vt:lpstr>PowerPoint Presentation</vt:lpstr>
      <vt:lpstr>Characteristics of the 16 Priority “Polio Transition” Countries</vt:lpstr>
      <vt:lpstr>86% of WHO immunization personnel in Africa are polio-funded  40% of WHO AFRO’s workforce is polio-funded</vt:lpstr>
      <vt:lpstr>Why It Makes Sense to Pivot from  Polio Eradication to Measles-Rubella Elimination</vt:lpstr>
      <vt:lpstr>GPEI Lessons Learned That Can Be Applied to Measles-Rubella Elimination</vt:lpstr>
      <vt:lpstr>Polio-Funded Surveillance Officer Responsibilities</vt:lpstr>
      <vt:lpstr>Health Emergency and IHR Capacity: Building on the  Polio/MR Lab and Surveillance Network (&gt;700 labs)</vt:lpstr>
      <vt:lpstr>Resource Dependence of MR on Polio</vt:lpstr>
      <vt:lpstr>Key Messages– Polio/MR/VPD Surveillanc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en Sosler</dc:creator>
  <cp:lastModifiedBy>Agocs, Mary</cp:lastModifiedBy>
  <cp:revision>46</cp:revision>
  <cp:lastPrinted>2017-08-16T20:31:14Z</cp:lastPrinted>
  <dcterms:created xsi:type="dcterms:W3CDTF">2017-05-31T09:44:38Z</dcterms:created>
  <dcterms:modified xsi:type="dcterms:W3CDTF">2017-08-16T21:05:05Z</dcterms:modified>
</cp:coreProperties>
</file>